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17" r:id="rId4"/>
    <p:sldMasterId id="2147483850" r:id="rId5"/>
    <p:sldMasterId id="2147483895" r:id="rId6"/>
  </p:sldMasterIdLst>
  <p:notesMasterIdLst>
    <p:notesMasterId r:id="rId13"/>
  </p:notesMasterIdLst>
  <p:handoutMasterIdLst>
    <p:handoutMasterId r:id="rId14"/>
  </p:handoutMasterIdLst>
  <p:sldIdLst>
    <p:sldId id="648" r:id="rId7"/>
    <p:sldId id="532" r:id="rId8"/>
    <p:sldId id="688" r:id="rId9"/>
    <p:sldId id="689" r:id="rId10"/>
    <p:sldId id="690" r:id="rId11"/>
    <p:sldId id="661" r:id="rId12"/>
  </p:sldIdLst>
  <p:sldSz cx="9906000" cy="6858000" type="A4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164" userDrawn="1">
          <p15:clr>
            <a:srgbClr val="A4A3A4"/>
          </p15:clr>
        </p15:guide>
        <p15:guide id="7" orient="horz" pos="4178" userDrawn="1">
          <p15:clr>
            <a:srgbClr val="A4A3A4"/>
          </p15:clr>
        </p15:guide>
        <p15:guide id="9" pos="330" userDrawn="1">
          <p15:clr>
            <a:srgbClr val="A4A3A4"/>
          </p15:clr>
        </p15:guide>
        <p15:guide id="11" pos="3165" userDrawn="1">
          <p15:clr>
            <a:srgbClr val="A4A3A4"/>
          </p15:clr>
        </p15:guide>
        <p15:guide id="12" pos="3075" userDrawn="1">
          <p15:clr>
            <a:srgbClr val="A4A3A4"/>
          </p15:clr>
        </p15:guide>
        <p15:guide id="13" pos="5910" userDrawn="1">
          <p15:clr>
            <a:srgbClr val="A4A3A4"/>
          </p15:clr>
        </p15:guide>
        <p15:guide id="14" pos="4617" userDrawn="1">
          <p15:clr>
            <a:srgbClr val="A4A3A4"/>
          </p15:clr>
        </p15:guide>
        <p15:guide id="15" pos="4526" userDrawn="1">
          <p15:clr>
            <a:srgbClr val="A4A3A4"/>
          </p15:clr>
        </p15:guide>
        <p15:guide id="16" pos="47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10A37F"/>
    <a:srgbClr val="FFE600"/>
    <a:srgbClr val="BFBFBF"/>
    <a:srgbClr val="FFF599"/>
    <a:srgbClr val="7F7F7F"/>
    <a:srgbClr val="F3F2F1"/>
    <a:srgbClr val="E6E6E6"/>
    <a:srgbClr val="D9D9D9"/>
    <a:srgbClr val="2DB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B7570E-49A3-4E82-935E-F873CDC0957A}" v="63" dt="2024-06-07T03:59:10.3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1409" autoAdjust="0"/>
  </p:normalViewPr>
  <p:slideViewPr>
    <p:cSldViewPr snapToGrid="0" snapToObjects="1" showGuides="1">
      <p:cViewPr varScale="1">
        <p:scale>
          <a:sx n="83" d="100"/>
          <a:sy n="83" d="100"/>
        </p:scale>
        <p:origin x="1205" y="62"/>
      </p:cViewPr>
      <p:guideLst>
        <p:guide orient="horz" pos="2160"/>
        <p:guide orient="horz" pos="1071"/>
        <p:guide orient="horz" pos="3974"/>
        <p:guide orient="horz" pos="164"/>
        <p:guide orient="horz" pos="4178"/>
        <p:guide pos="330"/>
        <p:guide pos="3165"/>
        <p:guide pos="3075"/>
        <p:guide pos="5910"/>
        <p:guide pos="4617"/>
        <p:guide pos="4526"/>
        <p:guide pos="4708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200" d="100"/>
          <a:sy n="200" d="100"/>
        </p:scale>
        <p:origin x="1020" y="-3714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4/06/2024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024" userDrawn="1">
          <p15:clr>
            <a:srgbClr val="F26B43"/>
          </p15:clr>
        </p15:guide>
        <p15:guide id="2" pos="2304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4/06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57275" y="720725"/>
            <a:ext cx="520065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5384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052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854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itchFamily="50" charset="-12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363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5.w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emf"/><Relationship Id="rId4" Type="http://schemas.openxmlformats.org/officeDocument/2006/relationships/image" Target="../media/image13.w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4.emf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082649" y="5709060"/>
            <a:ext cx="6595772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75168" y="5605202"/>
            <a:ext cx="848680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82649" y="6019189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rgbClr val="FFE600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82649" y="6216807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5165" y="5914642"/>
            <a:ext cx="624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6661E04-62F9-49DE-9D93-2EA0C4C0A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891" y="5340096"/>
            <a:ext cx="1069848" cy="1156968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017BE7DF-E067-42BE-86C9-5E49A33A0BA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9226" y="457199"/>
            <a:ext cx="4882647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F5BDD25-228C-421A-BA27-E07AC1CA18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520" y="1476597"/>
            <a:ext cx="4131199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7BD2205D-98B4-4946-A01D-362BEB8CC2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521" y="2422864"/>
            <a:ext cx="4131199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25406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502" y="2851522"/>
            <a:ext cx="3611956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EF7B21-823B-4C1B-B44E-8C28E4ECCA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41E2ED-6E26-46A5-B0CB-000051BE0FA0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E9737-42F0-4F0F-A932-7FE9D402AE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9A6E3-8A4A-4FC9-88A7-DFA9B43FF9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0517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56950" y="0"/>
            <a:ext cx="48490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230" y="2578743"/>
            <a:ext cx="3685173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0230" y="3840384"/>
            <a:ext cx="3685173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2273DE-A8FD-43F9-A3D9-68970B4AF5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9CCEE76-ADAC-4C09-B6FF-B7180031AC22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2AE062-2E23-4013-8660-9CF8B9A843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D2FDE-84B3-4A82-878F-6285E65B16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7523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95300" y="1137922"/>
            <a:ext cx="4025876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3686" y="3813288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03686" y="4055931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2353" y="3578084"/>
            <a:ext cx="8424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72356" y="1137922"/>
            <a:ext cx="4438346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2356" y="1635009"/>
            <a:ext cx="4438346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C37BF1DE-E4E1-40C4-B510-30A0AC8ABDB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1D44C6-2A68-4AD7-9CC8-54BCF10027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664C035-6A58-4B86-A7B1-540D1C3A5C34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2191FF-C540-403B-944B-8EC413F39B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10440-F38E-4BBB-A6D3-3297528ECAC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7772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6046" cy="41148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A3025C-3438-4F2B-8F2C-C1B75E958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98AB9-6E37-47C1-9D85-4203001C89FC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4889EE-A272-4972-94F8-C2BB45227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97A7D4-D39D-42B7-9480-78FE2F6F9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5011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6046" cy="41148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86500" y="2060235"/>
            <a:ext cx="5733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6500" y="5516838"/>
            <a:ext cx="5733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500" y="5828877"/>
            <a:ext cx="5733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686373" y="979788"/>
            <a:ext cx="2533254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648088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6046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407063" y="1488927"/>
            <a:ext cx="2533254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6063" y="2526765"/>
            <a:ext cx="5733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063" y="4632765"/>
            <a:ext cx="5733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063" y="4971442"/>
            <a:ext cx="5733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373439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2" y="1137920"/>
            <a:ext cx="669049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1">
            <a:extLst>
              <a:ext uri="{FF2B5EF4-FFF2-40B4-BE49-F238E27FC236}">
                <a16:creationId xmlns:a16="http://schemas.microsoft.com/office/drawing/2014/main" id="{95EDADD0-A4AE-43D1-A8CA-F0D422EBF99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0DC4E272-5E22-4B3C-94CE-7BFF319FA14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26A883D-CB1B-44DF-B864-E08C3B09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9D85F-FCA3-430D-9DE7-15726AAD19A7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18928-6D8C-4DEF-879C-4C4BB7FFA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D804FC6-AE5A-4130-8CE6-82D0878A8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867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Line 11">
            <a:extLst>
              <a:ext uri="{FF2B5EF4-FFF2-40B4-BE49-F238E27FC236}">
                <a16:creationId xmlns:a16="http://schemas.microsoft.com/office/drawing/2014/main" id="{7E606BA7-787F-40CD-BB00-3AEC32420A7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0" y="6242400"/>
            <a:ext cx="89154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E9B660A-29E5-49A2-9D87-2D7C78CC114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7E05A20-B63F-4056-AEB2-E20477644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DEA52-5ACD-455D-A5D0-FA719880D0C9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49782F-FB67-472E-B457-A8D4FC32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4EC9CE-483F-4F19-937D-371A9A127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59328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1" y="1137919"/>
            <a:ext cx="437515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1" y="1137919"/>
            <a:ext cx="437515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0C976817-4856-4880-A98A-B5A5C7C5542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8D47-C5CC-46B5-80A6-DC3E17F40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3D75D-FE2A-4AE4-84E8-26A2D7A851BF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2D722-DDE7-4179-BC15-25906CA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756507-1FEF-43F0-A228-A0F4A38D3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967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518" y="1869442"/>
            <a:ext cx="43797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4579" y="1869442"/>
            <a:ext cx="43797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1" y="1137920"/>
            <a:ext cx="43797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4579" y="1137920"/>
            <a:ext cx="43797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Line 10">
            <a:extLst>
              <a:ext uri="{FF2B5EF4-FFF2-40B4-BE49-F238E27FC236}">
                <a16:creationId xmlns:a16="http://schemas.microsoft.com/office/drawing/2014/main" id="{04B06CAE-5FB1-4603-B59C-091CBDD47D4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F6F0C-8419-4816-9E6B-8941D50C58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32F33D8-1A24-4E39-86C5-F6B07A9A5EB7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37EFC1-5CA0-4BFB-8363-27F8F3D23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B86835-09D6-4615-BB7C-7F8253C03F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8143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91" r="22409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45AD81-9D09-493D-94B8-1CAA625F68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891" y="5340096"/>
            <a:ext cx="1069848" cy="115696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B7F2A12E-7729-47A0-BC4C-937A569C150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9226" y="457199"/>
            <a:ext cx="4882647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520" y="1476597"/>
            <a:ext cx="4403695" cy="860400"/>
          </a:xfrm>
        </p:spPr>
        <p:txBody>
          <a:bodyPr/>
          <a:lstStyle>
            <a:lvl1pPr>
              <a:defRPr sz="3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521" y="2422865"/>
            <a:ext cx="4403695" cy="3912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1381078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E8263-DCF1-4C67-90D8-C34A99A7A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D4BB7-1E72-4EB8-993C-631EDB973C7A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39A50-9EF9-4531-9496-997ED3A26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A5048-1D32-4032-B513-417B76980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8220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CA287C-1B1C-48E4-A41F-63B3103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675EF-0993-4A75-8666-036CDF261987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876A3-22CA-4258-8697-755EB013E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498EB-F4E6-41EC-B31B-6FE074BF6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0399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794857-4245-4B70-83AF-69EE83412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29DBD-335A-435A-8745-2F341A9AAC4E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D39F-AAFD-4EAB-BBF7-D94D820E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C8219F-D640-4BE4-BEBF-30B96F2AF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3594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DA18EF-1F4C-4097-BF3F-A4B7A6050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AA37B-3DF7-44DE-ABDD-431420C263D8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196BC2-80B0-49AE-A845-81937D49D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3F6FC-E1D1-4971-AA75-4FA11D67A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281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809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906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DA38-9A54-405F-83FD-C2C8A8B87B3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B05771F-985B-43A3-B810-16E3E1851D68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4A337-C481-46B0-A487-BEEC61FC34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6212A2-9F1E-4808-9F79-71FEE70E5D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7747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266A06-263B-4A4A-913D-FDC2AFF122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6351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1B113FC-110C-4156-AE54-B6BF409697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7046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8ABFE52-8B9C-459B-B350-E3ADCFE74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0789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891" y="5340096"/>
            <a:ext cx="1069848" cy="1156968"/>
          </a:xfrm>
          <a:prstGeom prst="rect">
            <a:avLst/>
          </a:prstGeom>
        </p:spPr>
      </p:pic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509226" y="457199"/>
            <a:ext cx="4882647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812629" y="1677507"/>
            <a:ext cx="4403695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2629" y="2685128"/>
            <a:ext cx="4403695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2009622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Picture 145">
            <a:extLst>
              <a:ext uri="{FF2B5EF4-FFF2-40B4-BE49-F238E27FC236}">
                <a16:creationId xmlns:a16="http://schemas.microsoft.com/office/drawing/2014/main" id="{7FDAC7B4-6A01-49C4-9730-BF8572B13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02" b="5936"/>
          <a:stretch/>
        </p:blipFill>
        <p:spPr>
          <a:xfrm>
            <a:off x="0" y="-1"/>
            <a:ext cx="9906000" cy="68580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5340096"/>
            <a:ext cx="9906000" cy="151790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9C231702-C029-4BB5-90D1-8311DD931D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891" y="5340096"/>
            <a:ext cx="1069848" cy="115696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451607B-CAB5-4136-AB12-1BF3A1C4485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1" y="457200"/>
            <a:ext cx="5042153" cy="3930900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0882" y="1799130"/>
            <a:ext cx="3893058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0882" y="2769576"/>
            <a:ext cx="389305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727C5A3D-F97A-4F85-9F88-240C243986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5914517"/>
            <a:ext cx="4095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111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9226" y="457199"/>
            <a:ext cx="4882647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812629" y="1677507"/>
            <a:ext cx="5349240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2629" y="2685128"/>
            <a:ext cx="5349240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444283" y="5691442"/>
            <a:ext cx="614172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500483" y="5587583"/>
            <a:ext cx="1132162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44283" y="6001571"/>
            <a:ext cx="334671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4283" y="6199189"/>
            <a:ext cx="334671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0482" y="5897024"/>
            <a:ext cx="624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396E1D-5C76-4ADE-9002-02AC4DD83A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891" y="5340096"/>
            <a:ext cx="106984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179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5400" cy="5943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95300" y="1442718"/>
            <a:ext cx="4025876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92920" y="3990497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92920" y="4233140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2354" y="3882880"/>
            <a:ext cx="632575" cy="58521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72356" y="1442719"/>
            <a:ext cx="4438346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2356" y="1939806"/>
            <a:ext cx="4438346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0865A7-88A1-4179-82B7-13BDA35F141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EDFAA0-E69B-4776-9581-7FC7C8BA877E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7C51E9-620F-4C67-9485-FC4B1DECD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53B3B-B504-465C-9948-C1D8C2E6999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1579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936365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8786" y="294200"/>
            <a:ext cx="7220989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88786" y="1137921"/>
            <a:ext cx="2227432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650833" y="1137921"/>
            <a:ext cx="2276936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7162384" y="1137923"/>
            <a:ext cx="2248316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Line 10">
            <a:extLst>
              <a:ext uri="{FF2B5EF4-FFF2-40B4-BE49-F238E27FC236}">
                <a16:creationId xmlns:a16="http://schemas.microsoft.com/office/drawing/2014/main" id="{1FE654FB-261F-44E5-8EF9-237DB835D71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191966" y="907750"/>
            <a:ext cx="725034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3AD698-0E41-4FCF-AB31-51B8D1AE402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3DDCC9E-6578-4A91-9E69-0D46A07C49C5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018413-4A60-4C02-9E4A-E0257623113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4983C1-0EF4-4B2C-97F2-6888EAEE5D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125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01600"/>
            <a:ext cx="8915400" cy="59436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Table Placeholder 4">
            <a:extLst>
              <a:ext uri="{FF2B5EF4-FFF2-40B4-BE49-F238E27FC236}">
                <a16:creationId xmlns:a16="http://schemas.microsoft.com/office/drawing/2014/main" id="{C5AC4C92-885D-49C5-B704-597DE68FC006}"/>
              </a:ext>
            </a:extLst>
          </p:cNvPr>
          <p:cNvSpPr txBox="1">
            <a:spLocks/>
          </p:cNvSpPr>
          <p:nvPr userDrawn="1"/>
        </p:nvSpPr>
        <p:spPr>
          <a:xfrm>
            <a:off x="660744" y="1137921"/>
            <a:ext cx="5370630" cy="42674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616" marR="0" lvl="0" indent="-356616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20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Line 10">
            <a:extLst>
              <a:ext uri="{FF2B5EF4-FFF2-40B4-BE49-F238E27FC236}">
                <a16:creationId xmlns:a16="http://schemas.microsoft.com/office/drawing/2014/main" id="{04A2E968-DBA8-4BD3-8F8F-9B23825BC4D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218B73-555A-4F14-931F-DAE40AC25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647B7E-DD37-4E2B-93C7-4109DF64246E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7FC2ED-0BA0-4018-BDCE-AA7E8B559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549BB1-9F3B-419B-872D-8849B20BD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86931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56950" y="0"/>
            <a:ext cx="484905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431" y="2050889"/>
            <a:ext cx="3685173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431" y="3312530"/>
            <a:ext cx="3685173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FA5F4-2C73-4B43-B1F9-ACD0523E32E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D30FF40-FE04-4743-BEA8-340D9A5E0731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2117D-1604-45F6-B4EC-F3C188119C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CD1EA-7C3D-4424-8A2B-88892F289C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0419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1736" y="2504281"/>
            <a:ext cx="3611956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B00D41-84A6-4D84-AAAE-0067EC8AF9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817ECCF-CBA0-4C4D-974E-7BD0CFAD7C3E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77F6EB-21D5-4EE8-8A81-25BDB5A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7FF3F-46CF-4130-9246-1A95F22F2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16385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40DE8-8F4D-4084-8CB3-259B7386B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F21B66-EF35-42E2-98F6-2B445D258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CA10A-9A77-4291-B038-2BACB6C85108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EEFB-0946-4328-B1EF-7567E57C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BE56A-99A8-45B4-A8F6-67B842B2A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6722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082649" y="5709060"/>
            <a:ext cx="6595772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75168" y="5605202"/>
            <a:ext cx="848680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82649" y="6019189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82649" y="6216807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9226" y="457199"/>
            <a:ext cx="4882647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520" y="1476597"/>
            <a:ext cx="4131199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521" y="2422864"/>
            <a:ext cx="4131199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353029" y="5340350"/>
            <a:ext cx="1069710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5165" y="5914642"/>
            <a:ext cx="624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739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2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082649" y="5709060"/>
            <a:ext cx="6595772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375168" y="5605202"/>
            <a:ext cx="848680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167" y="6019189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5167" y="6216807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9226" y="457199"/>
            <a:ext cx="4882647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520" y="1476597"/>
            <a:ext cx="4131199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521" y="2422864"/>
            <a:ext cx="4131199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353029" y="5340350"/>
            <a:ext cx="1069710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</p:spTree>
    <p:extLst>
      <p:ext uri="{BB962C8B-B14F-4D97-AF65-F5344CB8AC3E}">
        <p14:creationId xmlns:p14="http://schemas.microsoft.com/office/powerpoint/2010/main" val="3660086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2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1" y="457200"/>
            <a:ext cx="5042153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353029" y="5340350"/>
            <a:ext cx="1069710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5914517"/>
            <a:ext cx="4095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2208" y="2825612"/>
            <a:ext cx="3913746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2208" y="1855166"/>
            <a:ext cx="391374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519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>
            <a:extLst>
              <a:ext uri="{FF2B5EF4-FFF2-40B4-BE49-F238E27FC236}">
                <a16:creationId xmlns:a16="http://schemas.microsoft.com/office/drawing/2014/main" id="{581C513F-D0C9-46EE-93E2-83D5128319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891" y="5340096"/>
            <a:ext cx="1069848" cy="1156968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7204B28E-7010-45B1-9A81-2C543F9490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777241"/>
            <a:ext cx="7315994" cy="3400425"/>
          </a:xfrm>
          <a:prstGeom prst="rect">
            <a:avLst/>
          </a:prstGeom>
        </p:spPr>
      </p:pic>
      <p:sp>
        <p:nvSpPr>
          <p:cNvPr id="75" name="Subtitle 2">
            <a:extLst>
              <a:ext uri="{FF2B5EF4-FFF2-40B4-BE49-F238E27FC236}">
                <a16:creationId xmlns:a16="http://schemas.microsoft.com/office/drawing/2014/main" id="{24F2EA79-0822-4B81-90D8-1FA02CFB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2207" y="3258529"/>
            <a:ext cx="643871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EC2B6F8E-BD78-40B0-B08A-973D85359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2207" y="2288083"/>
            <a:ext cx="6438718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5A33645C-A5C8-4EA5-A3D8-D74C0FE66C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5914517"/>
            <a:ext cx="4095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394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353029" y="5340350"/>
            <a:ext cx="1069710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777241"/>
            <a:ext cx="7315994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2207" y="3258529"/>
            <a:ext cx="643871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2207" y="2288083"/>
            <a:ext cx="6438718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5914517"/>
            <a:ext cx="4095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68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082" y="635140"/>
            <a:ext cx="8893968" cy="380636"/>
          </a:xfrm>
        </p:spPr>
        <p:txBody>
          <a:bodyPr anchor="t"/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lang="en-GB" sz="2500" b="1" kern="1200" spc="-150" dirty="0">
                <a:solidFill>
                  <a:schemeClr val="bg1"/>
                </a:solidFill>
                <a:latin typeface="맑은 고딕" pitchFamily="50" charset="-127"/>
                <a:ea typeface="+mj-ea"/>
                <a:cs typeface="Arial" pitchFamily="34" charset="0"/>
              </a:defRPr>
            </a:lvl1pPr>
          </a:lstStyle>
          <a:p>
            <a:r>
              <a:rPr lang="en-US" altLang="ko-KR" dirty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23929" y="484101"/>
            <a:ext cx="8893121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맑은 고딕" pitchFamily="50" charset="-127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E58849-36BB-4759-BDA5-79D3597231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9882" y="263425"/>
            <a:ext cx="3650133" cy="169277"/>
          </a:xfr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1" hangingPunct="1">
              <a:lnSpc>
                <a:spcPct val="100000"/>
              </a:lnSpc>
              <a:buClr>
                <a:srgbClr val="FFD200"/>
              </a:buClr>
              <a:buSzPct val="70000"/>
              <a:buNone/>
              <a:defRPr kumimoji="0" lang="en-US" altLang="ko-KR" sz="1100" b="0" kern="1200" spc="0" dirty="0">
                <a:solidFill>
                  <a:srgbClr val="808080"/>
                </a:solidFill>
                <a:latin typeface="맑은 고딕"/>
                <a:ea typeface="맑은 고딕"/>
                <a:cs typeface="+mn-cs"/>
              </a:defRPr>
            </a:lvl1pPr>
            <a:lvl2pPr>
              <a:defRPr lang="en-US" altLang="ko-KR" sz="18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altLang="ko-KR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US" altLang="ko-KR" sz="1800" dirty="0" smtClean="0">
                <a:solidFill>
                  <a:schemeClr val="tx1"/>
                </a:solidFill>
                <a:latin typeface="+mn-lt"/>
              </a:defRPr>
            </a:lvl4pPr>
            <a:lvl5pPr>
              <a:defRPr lang="ko-KR" altLang="en-US" sz="1800" dirty="0">
                <a:solidFill>
                  <a:schemeClr val="tx1"/>
                </a:solidFill>
                <a:latin typeface="+mn-lt"/>
              </a:defRPr>
            </a:lvl5pPr>
          </a:lstStyle>
          <a:p>
            <a:pPr marL="0" lvl="0">
              <a:lnSpc>
                <a:spcPct val="100000"/>
              </a:lnSpc>
              <a:buClr>
                <a:srgbClr val="FFD200"/>
              </a:buClr>
            </a:pPr>
            <a:r>
              <a:rPr lang="en-US" altLang="ko-KR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BF74387-7D7A-4877-B068-E381357440F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3081" y="1055211"/>
            <a:ext cx="8893121" cy="825618"/>
          </a:xfrm>
        </p:spPr>
        <p:txBody>
          <a:bodyPr/>
          <a:lstStyle>
            <a:lvl1pPr marL="0" indent="0" defTabSz="925513" latinLnBrk="0">
              <a:lnSpc>
                <a:spcPct val="120000"/>
              </a:lnSpc>
              <a:spcBef>
                <a:spcPts val="0"/>
              </a:spcBef>
              <a:buNone/>
              <a:tabLst/>
              <a:defRPr sz="1200" b="0"/>
            </a:lvl1pPr>
            <a:lvl2pPr marL="0" indent="0" defTabSz="925513" latinLnBrk="0">
              <a:lnSpc>
                <a:spcPct val="120000"/>
              </a:lnSpc>
              <a:spcBef>
                <a:spcPts val="0"/>
              </a:spcBef>
              <a:buNone/>
              <a:tabLst/>
              <a:defRPr sz="1200" b="0"/>
            </a:lvl2pPr>
            <a:lvl3pPr marL="0" indent="0" defTabSz="925513" latinLnBrk="0">
              <a:lnSpc>
                <a:spcPct val="120000"/>
              </a:lnSpc>
              <a:spcBef>
                <a:spcPts val="0"/>
              </a:spcBef>
              <a:buNone/>
              <a:tabLst/>
              <a:defRPr sz="1200" b="0"/>
            </a:lvl3pPr>
            <a:lvl4pPr marL="0" indent="0" defTabSz="925513">
              <a:lnSpc>
                <a:spcPct val="120000"/>
              </a:lnSpc>
              <a:spcBef>
                <a:spcPts val="0"/>
              </a:spcBef>
              <a:tabLst/>
              <a:defRPr sz="1200"/>
            </a:lvl4pPr>
            <a:lvl5pPr marL="0" indent="0" defTabSz="925513">
              <a:lnSpc>
                <a:spcPct val="120000"/>
              </a:lnSpc>
              <a:spcBef>
                <a:spcPts val="0"/>
              </a:spcBef>
              <a:tabLst/>
              <a:defRPr sz="1200"/>
            </a:lvl5pPr>
          </a:lstStyle>
          <a:p>
            <a:pPr lvl="0"/>
            <a:r>
              <a:rPr lang="en-US" altLang="ko-KR" dirty="0"/>
              <a:t>Click to edit Master text styles</a:t>
            </a:r>
          </a:p>
          <a:p>
            <a:pPr lvl="1"/>
            <a:r>
              <a:rPr lang="en-US" altLang="ko-KR" dirty="0"/>
              <a:t>Second level</a:t>
            </a:r>
          </a:p>
          <a:p>
            <a:pPr lvl="2"/>
            <a:r>
              <a:rPr lang="en-US" altLang="ko-KR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859377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1" orient="horz" pos="618" userDrawn="1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1" y="1137920"/>
            <a:ext cx="89154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197805-0689-4503-8125-F783F93171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57BD8AAC-70C4-433E-BAA2-1A1AFBD71E3C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80DED-A206-48B8-8395-C38D7506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33359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80CEA2-D107-4E43-B632-8CAB22A8C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9459D6B7-FAA1-49A2-8BFA-449AB9376750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FCC4BD-E0C7-4008-8760-F505B7C87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2190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58317" y="1"/>
            <a:ext cx="3247684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6045444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5300" y="1137921"/>
            <a:ext cx="592787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95301" y="2311401"/>
            <a:ext cx="2907331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515841" y="2311403"/>
            <a:ext cx="2907331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15841" y="4236721"/>
            <a:ext cx="2907331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627236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31161-0EF0-4994-BAAC-817AFCD5564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A98655AF-B45A-43A6-A6E4-A92B8CCFA186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A1A6EA-628B-40CB-AD7E-45CB0B91C2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8802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936365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8786" y="294200"/>
            <a:ext cx="7220989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88786" y="1137921"/>
            <a:ext cx="2227432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650833" y="1137921"/>
            <a:ext cx="2276936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162384" y="1137923"/>
            <a:ext cx="2248316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8786" y="907750"/>
            <a:ext cx="722098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1076-97C0-41B2-AAE5-AD919BB2DC2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9084FAA7-3AFB-43A4-9332-55702EEFB6BB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40DA20-3A42-4B9D-A853-92BEABFB15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2452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2" y="1137920"/>
            <a:ext cx="669049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E81C-0962-435D-B7CC-E9E7007F1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745F6E5F-2233-44C4-A768-9BC337F9F9CD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CDD1B3-89EC-47BA-A26E-D0402201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601811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502" y="2851522"/>
            <a:ext cx="3611956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CADD9D7F-9B4D-4774-AFA3-BCF9232B0532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4551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502" y="2851522"/>
            <a:ext cx="3611956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732ED48F-3F98-4183-8923-77129A69963B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8670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56950" y="0"/>
            <a:ext cx="48490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230" y="2578743"/>
            <a:ext cx="3685173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0230" y="3840384"/>
            <a:ext cx="3685173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DA49F8-A774-4DD1-8745-65E01AB0472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49C3679E-CE99-4385-8BD0-1A1175D70D1E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C0F4CC-50C9-4C20-A16A-91535919DC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1286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70E64C6A-78AE-4547-94F4-A7E658DB2EF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0E1552-BF13-453D-A76C-3B49D9C85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1" y="1137920"/>
            <a:ext cx="89154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12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95300" y="1137922"/>
            <a:ext cx="4025876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3686" y="3813288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03686" y="4055931"/>
            <a:ext cx="2508729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72356" y="1137922"/>
            <a:ext cx="4438346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2356" y="1635009"/>
            <a:ext cx="4438346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72353" y="3578084"/>
            <a:ext cx="8424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40ECC-CB43-49D3-ABF3-A5F4F308E7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08E4C5DD-8E03-4FAA-8921-CB640E00BA12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79E38-5A0D-4584-B4BB-113C1A4C50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291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6046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407063" y="1488927"/>
            <a:ext cx="2533254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6063" y="2526765"/>
            <a:ext cx="5733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063" y="4632765"/>
            <a:ext cx="5733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063" y="4971442"/>
            <a:ext cx="5733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974836" y="6327649"/>
            <a:ext cx="435864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</p:spTree>
    <p:extLst>
      <p:ext uri="{BB962C8B-B14F-4D97-AF65-F5344CB8AC3E}">
        <p14:creationId xmlns:p14="http://schemas.microsoft.com/office/powerpoint/2010/main" val="16150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86500" y="2060235"/>
            <a:ext cx="5733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6500" y="5516838"/>
            <a:ext cx="5733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86500" y="5828877"/>
            <a:ext cx="5733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686373" y="979788"/>
            <a:ext cx="2533254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974836" y="6327649"/>
            <a:ext cx="435864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</p:spTree>
    <p:extLst>
      <p:ext uri="{BB962C8B-B14F-4D97-AF65-F5344CB8AC3E}">
        <p14:creationId xmlns:p14="http://schemas.microsoft.com/office/powerpoint/2010/main" val="1729451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2" y="1137920"/>
            <a:ext cx="669049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BF0A34-C36D-461B-A015-21A5DA63B5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B8860E02-1003-4EAE-8667-0F1BC9077C64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ECF0E1-C505-48F8-AD92-7D8685FF4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400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1" y="1137919"/>
            <a:ext cx="437515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1" y="1137919"/>
            <a:ext cx="437515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BDE01-7D08-4922-9259-4581BC33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231F249C-FD77-4F22-A6EF-43F8DC053B7D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9C6724-47E1-45B5-B455-099BFD53B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0925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518" y="1869442"/>
            <a:ext cx="43797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4579" y="1869442"/>
            <a:ext cx="43797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1" y="1137920"/>
            <a:ext cx="43797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4579" y="1137920"/>
            <a:ext cx="43797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" y="907750"/>
            <a:ext cx="89166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A5F9A-0842-4BED-A447-9C3F6915DCD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049993" y="6516456"/>
            <a:ext cx="1290530" cy="180000"/>
          </a:xfrm>
          <a:prstGeom prst="rect">
            <a:avLst/>
          </a:prstGeom>
        </p:spPr>
        <p:txBody>
          <a:bodyPr/>
          <a:lstStyle/>
          <a:p>
            <a:fld id="{FDBF3969-7A23-4B37-9754-54A2A593BBDE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8AD82-A588-4EFB-A956-62AC671AB8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98358" y="6516456"/>
            <a:ext cx="3343275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9335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74534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45BBDB2-BA66-4CAF-998B-9D64B00D14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2866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6D09E6-0A52-4BB2-A361-86380E62A2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2529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C72D4-8941-4841-A1D6-780403604C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3580" y="719139"/>
            <a:ext cx="3798600" cy="5210062"/>
          </a:xfrm>
        </p:spPr>
        <p:txBody>
          <a:bodyPr/>
          <a:lstStyle>
            <a:lvl1pPr marL="0" indent="0" algn="l" defTabSz="746124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9" indent="-13208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9" indent="-141609" algn="l" defTabSz="746124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2914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266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F1241-E9B6-4AFC-94DC-380325C3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57FC-BEB6-472D-B2FA-5939A6D4E9E2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81A62-2FE8-40E2-AD71-A2FCBF45A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34FE67-B066-4247-BB41-6FE7CE167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4731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D8F378C-3B03-760E-2784-6888FF1B0E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60882" y="2334892"/>
            <a:ext cx="5759958" cy="32591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제출 날짜 입력</a:t>
            </a:r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960882" y="1364446"/>
            <a:ext cx="5759958" cy="8604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+mj-ea"/>
                <a:ea typeface="+mj-ea"/>
                <a:cs typeface="Arial" pitchFamily="34" charset="0"/>
              </a:defRPr>
            </a:lvl1pPr>
          </a:lstStyle>
          <a:p>
            <a:r>
              <a:rPr lang="en-US" altLang="ko-KR"/>
              <a:t>///</a:t>
            </a:r>
            <a:endParaRPr lang="en-GB"/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3DE33CA0-E384-4BF8-8F1A-2776FB22EF90}"/>
              </a:ext>
            </a:extLst>
          </p:cNvPr>
          <p:cNvGrpSpPr/>
          <p:nvPr userDrawn="1"/>
        </p:nvGrpSpPr>
        <p:grpSpPr>
          <a:xfrm>
            <a:off x="624238" y="538818"/>
            <a:ext cx="7518811" cy="3014332"/>
            <a:chOff x="495300" y="544945"/>
            <a:chExt cx="7112001" cy="2709084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97D7AD7-0EA8-4E22-B043-F23117EAF5BD}"/>
                </a:ext>
              </a:extLst>
            </p:cNvPr>
            <p:cNvGrpSpPr/>
            <p:nvPr userDrawn="1"/>
          </p:nvGrpSpPr>
          <p:grpSpPr>
            <a:xfrm>
              <a:off x="495301" y="544945"/>
              <a:ext cx="7112000" cy="2709084"/>
              <a:chOff x="495300" y="835152"/>
              <a:chExt cx="7315994" cy="3342514"/>
            </a:xfrm>
          </p:grpSpPr>
          <p:pic>
            <p:nvPicPr>
              <p:cNvPr id="16" name="Picture 15"/>
              <p:cNvPicPr>
                <a:picLocks noChangeAspect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5300" y="835152"/>
                <a:ext cx="7315994" cy="3342514"/>
              </a:xfrm>
              <a:prstGeom prst="rect">
                <a:avLst/>
              </a:prstGeom>
            </p:spPr>
          </p:pic>
          <p:sp>
            <p:nvSpPr>
              <p:cNvPr id="11" name="Right Triangle 10">
                <a:extLst>
                  <a:ext uri="{FF2B5EF4-FFF2-40B4-BE49-F238E27FC236}">
                    <a16:creationId xmlns:a16="http://schemas.microsoft.com/office/drawing/2014/main" id="{A6EDF6ED-340B-4B7F-9F23-608AF985B38F}"/>
                  </a:ext>
                </a:extLst>
              </p:cNvPr>
              <p:cNvSpPr/>
              <p:nvPr userDrawn="1"/>
            </p:nvSpPr>
            <p:spPr>
              <a:xfrm rot="16200000">
                <a:off x="3550038" y="-2002622"/>
                <a:ext cx="1208773" cy="7065267"/>
              </a:xfrm>
              <a:prstGeom prst="rtTriangle">
                <a:avLst/>
              </a:prstGeom>
              <a:solidFill>
                <a:srgbClr val="FFE600">
                  <a:alpha val="8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R="0" lvl="0" indent="0" defTabSz="91440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ko-KR" altLang="en-US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090DE3F8-8678-49A2-851B-25C576A4970B}"/>
                  </a:ext>
                </a:extLst>
              </p:cNvPr>
              <p:cNvSpPr/>
              <p:nvPr userDrawn="1"/>
            </p:nvSpPr>
            <p:spPr>
              <a:xfrm>
                <a:off x="658368" y="2129269"/>
                <a:ext cx="7028690" cy="1974433"/>
              </a:xfrm>
              <a:prstGeom prst="rect">
                <a:avLst/>
              </a:prstGeom>
              <a:solidFill>
                <a:srgbClr val="FFE600">
                  <a:alpha val="8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lvl="0" indent="0" defTabSz="91440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ko-KR" altLang="en-US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78FA371-C542-451E-99B2-ABD64F0DFB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630" t="95499" r="2727"/>
            <a:stretch/>
          </p:blipFill>
          <p:spPr>
            <a:xfrm>
              <a:off x="495300" y="3139774"/>
              <a:ext cx="965200" cy="111578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28075380-A74F-4FFF-870B-33CFC10DCAB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5435" r="97607" b="15720"/>
            <a:stretch/>
          </p:blipFill>
          <p:spPr>
            <a:xfrm>
              <a:off x="495301" y="2567212"/>
              <a:ext cx="170261" cy="685437"/>
            </a:xfrm>
            <a:prstGeom prst="rect">
              <a:avLst/>
            </a:prstGeom>
          </p:spPr>
        </p:pic>
      </p:grpSp>
      <p:grpSp>
        <p:nvGrpSpPr>
          <p:cNvPr id="37" name="Group 2">
            <a:extLst>
              <a:ext uri="{FF2B5EF4-FFF2-40B4-BE49-F238E27FC236}">
                <a16:creationId xmlns:a16="http://schemas.microsoft.com/office/drawing/2014/main" id="{1D17AE52-FDF8-4E6B-8912-5EDD520813C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71840" y="5296085"/>
            <a:ext cx="1296150" cy="1391535"/>
            <a:chOff x="10365012" y="5439032"/>
            <a:chExt cx="1069848" cy="1148584"/>
          </a:xfrm>
          <a:effectLst>
            <a:glow rad="63500">
              <a:schemeClr val="accent3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38" name="Picture 13">
              <a:extLst>
                <a:ext uri="{FF2B5EF4-FFF2-40B4-BE49-F238E27FC236}">
                  <a16:creationId xmlns:a16="http://schemas.microsoft.com/office/drawing/2014/main" id="{569274DF-0E51-46E2-BF30-C23FD07551B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3952"/>
            <a:stretch/>
          </p:blipFill>
          <p:spPr>
            <a:xfrm>
              <a:off x="10365012" y="5439032"/>
              <a:ext cx="1069848" cy="301368"/>
            </a:xfrm>
            <a:prstGeom prst="rect">
              <a:avLst/>
            </a:prstGeom>
          </p:spPr>
        </p:pic>
        <p:pic>
          <p:nvPicPr>
            <p:cNvPr id="39" name="Picture 18">
              <a:extLst>
                <a:ext uri="{FF2B5EF4-FFF2-40B4-BE49-F238E27FC236}">
                  <a16:creationId xmlns:a16="http://schemas.microsoft.com/office/drawing/2014/main" id="{BC9A3204-699A-4E5B-994B-B2AE22C31B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871"/>
            <a:stretch/>
          </p:blipFill>
          <p:spPr>
            <a:xfrm>
              <a:off x="10365012" y="5753100"/>
              <a:ext cx="1069848" cy="834516"/>
            </a:xfrm>
            <a:prstGeom prst="rect">
              <a:avLst/>
            </a:prstGeom>
          </p:spPr>
        </p:pic>
      </p:grpSp>
      <p:pic>
        <p:nvPicPr>
          <p:cNvPr id="42" name="Picture 31">
            <a:extLst>
              <a:ext uri="{FF2B5EF4-FFF2-40B4-BE49-F238E27FC236}">
                <a16:creationId xmlns:a16="http://schemas.microsoft.com/office/drawing/2014/main" id="{A9DFA42E-5B32-4B1C-8D67-AF9B22A381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60" y="6082286"/>
            <a:ext cx="4279389" cy="646611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  <a:effectLst>
            <a:reflection stA="0" endPos="65000" dist="508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55378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232402C-C50C-4F68-9CC6-0A2566794B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3507" y="328726"/>
            <a:ext cx="9205888" cy="572041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altLang="ko-KR"/>
              <a:t>Click to edit Head Messag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230C75-7408-4D36-9A88-FDE488904A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3507" y="919466"/>
            <a:ext cx="9205888" cy="572042"/>
          </a:xfrm>
          <a:prstGeom prst="rect">
            <a:avLst/>
          </a:prstGeom>
        </p:spPr>
        <p:txBody>
          <a:bodyPr lIns="0" anchor="t"/>
          <a:lstStyle>
            <a:lvl1pPr marL="0" indent="0" latinLnBrk="0" hangingPunct="0">
              <a:lnSpc>
                <a:spcPct val="100000"/>
              </a:lnSpc>
              <a:buNone/>
              <a:defRPr sz="1600" b="1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endParaRPr lang="en-US" altLang="ko-KR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C10941A-09A5-489C-8DEE-6F7849138E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507" y="6292164"/>
            <a:ext cx="9205888" cy="23711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/>
              <a:t>Click to edit source</a:t>
            </a:r>
            <a:endParaRPr lang="ko-KR" alt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43A483D-F4BB-48B9-86E2-7D19A57E24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3508" y="87630"/>
            <a:ext cx="7176831" cy="228600"/>
          </a:xfrm>
          <a:prstGeom prst="rect">
            <a:avLst/>
          </a:prstGeom>
        </p:spPr>
        <p:txBody>
          <a:bodyPr lIns="0" tIns="72000" rIns="0" bIns="72000" anchor="ctr"/>
          <a:lstStyle>
            <a:lvl1pPr marL="0" indent="0">
              <a:buNone/>
              <a:defRPr sz="1200" b="0" baseline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US" altLang="ko-KR"/>
              <a:t>Click to edit Navigator style</a:t>
            </a:r>
            <a:endParaRPr lang="ko-KR" alt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96F10B7-0DDF-47CE-BD84-5FC3FAEECE77}"/>
              </a:ext>
            </a:extLst>
          </p:cNvPr>
          <p:cNvSpPr/>
          <p:nvPr userDrawn="1"/>
        </p:nvSpPr>
        <p:spPr>
          <a:xfrm>
            <a:off x="9993746" y="0"/>
            <a:ext cx="1177174" cy="3429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866FB6-B1C8-4FE6-BC93-693B00A0CB90}"/>
              </a:ext>
            </a:extLst>
          </p:cNvPr>
          <p:cNvSpPr/>
          <p:nvPr userDrawn="1"/>
        </p:nvSpPr>
        <p:spPr>
          <a:xfrm>
            <a:off x="10067637" y="87630"/>
            <a:ext cx="494180" cy="323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BF84B3-90E4-4E32-A2D5-912F8066FE69}"/>
              </a:ext>
            </a:extLst>
          </p:cNvPr>
          <p:cNvSpPr/>
          <p:nvPr userDrawn="1"/>
        </p:nvSpPr>
        <p:spPr>
          <a:xfrm>
            <a:off x="10067637" y="452821"/>
            <a:ext cx="494180" cy="32385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본 </a:t>
            </a:r>
            <a:r>
              <a:rPr kumimoji="0" lang="en-US" altLang="ko-KR" sz="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kumimoji="0" lang="ko-KR" altLang="en-US" sz="8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F522F1-C53E-4B43-AD14-008241849AFA}"/>
              </a:ext>
            </a:extLst>
          </p:cNvPr>
          <p:cNvSpPr/>
          <p:nvPr userDrawn="1"/>
        </p:nvSpPr>
        <p:spPr>
          <a:xfrm>
            <a:off x="10067637" y="818012"/>
            <a:ext cx="494180" cy="32385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CC933E-E3A4-412C-B341-EC647E1E96B8}"/>
              </a:ext>
            </a:extLst>
          </p:cNvPr>
          <p:cNvSpPr/>
          <p:nvPr userDrawn="1"/>
        </p:nvSpPr>
        <p:spPr>
          <a:xfrm>
            <a:off x="10067637" y="1183203"/>
            <a:ext cx="494180" cy="32385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6608D7-5B06-4609-9A00-1C45AF81ABB2}"/>
              </a:ext>
            </a:extLst>
          </p:cNvPr>
          <p:cNvSpPr/>
          <p:nvPr userDrawn="1"/>
        </p:nvSpPr>
        <p:spPr>
          <a:xfrm>
            <a:off x="10067637" y="1548394"/>
            <a:ext cx="494180" cy="3238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5C2402C-7745-42C8-9757-117201465CF5}"/>
              </a:ext>
            </a:extLst>
          </p:cNvPr>
          <p:cNvSpPr/>
          <p:nvPr userDrawn="1"/>
        </p:nvSpPr>
        <p:spPr>
          <a:xfrm>
            <a:off x="10606347" y="87630"/>
            <a:ext cx="494180" cy="3238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D19C5F-4D37-472C-8BD2-40E612275D04}"/>
              </a:ext>
            </a:extLst>
          </p:cNvPr>
          <p:cNvSpPr/>
          <p:nvPr userDrawn="1"/>
        </p:nvSpPr>
        <p:spPr>
          <a:xfrm>
            <a:off x="10606347" y="452821"/>
            <a:ext cx="494180" cy="3238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385CD0-820C-4E43-B288-E179CD271056}"/>
              </a:ext>
            </a:extLst>
          </p:cNvPr>
          <p:cNvSpPr/>
          <p:nvPr userDrawn="1"/>
        </p:nvSpPr>
        <p:spPr>
          <a:xfrm>
            <a:off x="10606347" y="818012"/>
            <a:ext cx="494180" cy="3238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736818-60AE-4882-B3D2-DAC4F9D16BE4}"/>
              </a:ext>
            </a:extLst>
          </p:cNvPr>
          <p:cNvSpPr/>
          <p:nvPr userDrawn="1"/>
        </p:nvSpPr>
        <p:spPr>
          <a:xfrm>
            <a:off x="10606347" y="1183203"/>
            <a:ext cx="494180" cy="323850"/>
          </a:xfrm>
          <a:prstGeom prst="rect">
            <a:avLst/>
          </a:prstGeom>
          <a:solidFill>
            <a:srgbClr val="FFD200"/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ko-KR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729BB7C-AECF-4E82-8DA0-E05E0D16E10E}"/>
              </a:ext>
            </a:extLst>
          </p:cNvPr>
          <p:cNvSpPr/>
          <p:nvPr userDrawn="1"/>
        </p:nvSpPr>
        <p:spPr>
          <a:xfrm>
            <a:off x="10606347" y="1548394"/>
            <a:ext cx="494180" cy="323850"/>
          </a:xfrm>
          <a:prstGeom prst="rect">
            <a:avLst/>
          </a:prstGeom>
          <a:solidFill>
            <a:srgbClr val="FFC000"/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기본 </a:t>
            </a:r>
            <a:r>
              <a:rPr kumimoji="0" lang="en-US" altLang="ko-KR" sz="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kumimoji="0" lang="ko-KR" altLang="en-US" sz="8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AFA662D-715D-4566-9477-AED0517BDDA2}"/>
              </a:ext>
            </a:extLst>
          </p:cNvPr>
          <p:cNvSpPr/>
          <p:nvPr userDrawn="1"/>
        </p:nvSpPr>
        <p:spPr>
          <a:xfrm>
            <a:off x="10067636" y="1913585"/>
            <a:ext cx="1034703" cy="4882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Font: </a:t>
            </a:r>
            <a:r>
              <a:rPr kumimoji="0" lang="ko-KR" altLang="en-US" sz="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맑은고딕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(Body) 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영문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, 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sym typeface="Wingdings" panose="05000000000000000000" pitchFamily="2" charset="2"/>
              </a:rPr>
              <a:t>국문 모두</a:t>
            </a:r>
            <a:endParaRPr kumimoji="0" lang="ko-KR" altLang="en-US" sz="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1822DD-107D-4183-BA01-1A98F6A83C97}"/>
              </a:ext>
            </a:extLst>
          </p:cNvPr>
          <p:cNvSpPr/>
          <p:nvPr userDrawn="1"/>
        </p:nvSpPr>
        <p:spPr>
          <a:xfrm>
            <a:off x="10067636" y="2446135"/>
            <a:ext cx="1034703" cy="9282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[Font 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크기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대제목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12</a:t>
            </a: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중제목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20</a:t>
            </a: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소제목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14</a:t>
            </a: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Head </a:t>
            </a: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메시지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16</a:t>
            </a:r>
          </a:p>
          <a:p>
            <a: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ko-KR" altLang="en-US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장표 메시지</a:t>
            </a:r>
            <a:r>
              <a:rPr kumimoji="0" lang="en-US" altLang="ko-KR" sz="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: 12</a:t>
            </a:r>
            <a:endParaRPr kumimoji="0" lang="ko-KR" altLang="en-US" sz="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3927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7">
          <p15:clr>
            <a:srgbClr val="FDE53C"/>
          </p15:clr>
        </p15:guide>
        <p15:guide id="2" orient="horz" pos="216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935">
          <p15:clr>
            <a:srgbClr val="FBAE40"/>
          </p15:clr>
        </p15:guide>
        <p15:guide id="5" orient="horz" pos="3952">
          <p15:clr>
            <a:srgbClr val="FBAE40"/>
          </p15:clr>
        </p15:guide>
        <p15:guide id="6" pos="3120">
          <p15:clr>
            <a:srgbClr val="FBAE40"/>
          </p15:clr>
        </p15:guide>
        <p15:guide id="7" pos="6046">
          <p15:clr>
            <a:srgbClr val="FDE53C"/>
          </p15:clr>
        </p15:guide>
        <p15:guide id="8" orient="horz" pos="210">
          <p15:clr>
            <a:srgbClr val="FBAE40"/>
          </p15:clr>
        </p15:guide>
        <p15:guide id="9" orient="horz" pos="1049">
          <p15:clr>
            <a:srgbClr val="FBAE40"/>
          </p15:clr>
        </p15:guide>
        <p15:guide id="10" pos="3007">
          <p15:clr>
            <a:srgbClr val="FBAE40"/>
          </p15:clr>
        </p15:guide>
        <p15:guide id="11" pos="330">
          <p15:clr>
            <a:srgbClr val="F26B43"/>
          </p15:clr>
        </p15:guide>
        <p15:guide id="12" pos="3233">
          <p15:clr>
            <a:srgbClr val="FBAE40"/>
          </p15:clr>
        </p15:guide>
        <p15:guide id="13" pos="5910">
          <p15:clr>
            <a:srgbClr val="F26B43"/>
          </p15:clr>
        </p15:guide>
        <p15:guide id="14" orient="horz" pos="3861">
          <p15:clr>
            <a:srgbClr val="F26B43"/>
          </p15:clr>
        </p15:guide>
        <p15:guide id="15" orient="horz" pos="12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82393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텍스트 개체 틀 2"/>
          <p:cNvSpPr>
            <a:spLocks noGrp="1"/>
          </p:cNvSpPr>
          <p:nvPr>
            <p:ph type="body" sz="quarter" idx="14" hasCustomPrompt="1"/>
          </p:nvPr>
        </p:nvSpPr>
        <p:spPr>
          <a:xfrm>
            <a:off x="447577" y="836712"/>
            <a:ext cx="9010848" cy="632946"/>
          </a:xfrm>
          <a:prstGeom prst="rect">
            <a:avLst/>
          </a:prstGeom>
        </p:spPr>
        <p:txBody>
          <a:bodyPr wrap="square" lIns="0" tIns="0">
            <a:noAutofit/>
          </a:bodyPr>
          <a:lstStyle>
            <a:lvl1pPr indent="0" latinLnBrk="0">
              <a:spcAft>
                <a:spcPts val="0"/>
              </a:spcAft>
              <a:defRPr sz="1600" b="1" baseline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en-US" altLang="ko-KR"/>
              <a:t>Click to edit slide subtitle style</a:t>
            </a:r>
            <a:endParaRPr lang="ko-KR" altLang="en-US"/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47577" y="413055"/>
            <a:ext cx="5597544" cy="27722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 sz="2000" b="1" baseline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/>
              <a:t>Click to edit slide title style</a:t>
            </a:r>
            <a:endParaRPr lang="ko-KR" altLang="en-US"/>
          </a:p>
        </p:txBody>
      </p:sp>
      <p:sp>
        <p:nvSpPr>
          <p:cNvPr id="6" name="텍스트 개체 틀 10">
            <a:extLst>
              <a:ext uri="{FF2B5EF4-FFF2-40B4-BE49-F238E27FC236}">
                <a16:creationId xmlns:a16="http://schemas.microsoft.com/office/drawing/2014/main" id="{21C8F8D4-530C-4CA0-9D9B-DBD36C2D2D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7297" y="420876"/>
            <a:ext cx="1849144" cy="226824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algn="r"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목차 </a:t>
            </a: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7" name="텍스트 개체 틀 10">
            <a:extLst>
              <a:ext uri="{FF2B5EF4-FFF2-40B4-BE49-F238E27FC236}">
                <a16:creationId xmlns:a16="http://schemas.microsoft.com/office/drawing/2014/main" id="{0DFFCA38-FA74-4632-820A-4388AA15CC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17297" y="238346"/>
            <a:ext cx="1849144" cy="154800"/>
          </a:xfrm>
          <a:prstGeom prst="rect">
            <a:avLst/>
          </a:prstGeom>
        </p:spPr>
        <p:txBody>
          <a:bodyPr wrap="none"/>
          <a:lstStyle>
            <a:lvl1pPr algn="r"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목차 </a:t>
            </a: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8921EB89-5688-4D6D-84C5-87180957D0C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60227" y="770274"/>
            <a:ext cx="9185546" cy="0"/>
          </a:xfrm>
          <a:prstGeom prst="line">
            <a:avLst/>
          </a:prstGeom>
          <a:ln w="19050">
            <a:solidFill>
              <a:srgbClr val="36B4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950" noProof="0">
              <a:solidFill>
                <a:schemeClr val="bg1"/>
              </a:solidFill>
              <a:latin typeface="맑은 고딕" panose="020B0503020000020004" pitchFamily="50" charset="-127"/>
            </a:endParaRP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51560B9-FC1D-429B-9D7C-4A3A3136C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35693" y="6626869"/>
            <a:ext cx="834614" cy="13716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 latinLnBrk="0">
              <a:spcBef>
                <a:spcPts val="0"/>
              </a:spcBef>
              <a:defRPr sz="800" spc="-30" baseline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fld id="{7870704B-CE94-48CC-AF30-84932A1262A7}" type="slidenum">
              <a:rPr lang="en-US" altLang="ko-KR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95288893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7767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0CDE042-F3F9-49D5-B7A7-4DD02B8B97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10541"/>
            <a:ext cx="9906000" cy="68685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F34609A-FE42-49DB-993B-F988123E8411}"/>
              </a:ext>
            </a:extLst>
          </p:cNvPr>
          <p:cNvSpPr txBox="1"/>
          <p:nvPr userDrawn="1"/>
        </p:nvSpPr>
        <p:spPr>
          <a:xfrm>
            <a:off x="881888" y="400685"/>
            <a:ext cx="3145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b="1">
                <a:solidFill>
                  <a:srgbClr val="FFE600"/>
                </a:solidFill>
              </a:rPr>
              <a:t>EY </a:t>
            </a:r>
            <a:r>
              <a:rPr lang="en-US" altLang="ko-KR" sz="1200">
                <a:solidFill>
                  <a:srgbClr val="FFE600"/>
                </a:solidFill>
              </a:rPr>
              <a:t>| Building a better working world</a:t>
            </a:r>
            <a:endParaRPr lang="ko-KR" altLang="ko-KR" sz="1200">
              <a:solidFill>
                <a:srgbClr val="FFE6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1030BE-D99A-46DC-BD5A-5659845DDF65}"/>
              </a:ext>
            </a:extLst>
          </p:cNvPr>
          <p:cNvSpPr txBox="1"/>
          <p:nvPr userDrawn="1"/>
        </p:nvSpPr>
        <p:spPr>
          <a:xfrm>
            <a:off x="881888" y="806831"/>
            <a:ext cx="30681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EY exists to build a better working world,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30E93D-6A54-43E2-B75B-7FC7969C5185}"/>
              </a:ext>
            </a:extLst>
          </p:cNvPr>
          <p:cNvSpPr txBox="1"/>
          <p:nvPr userDrawn="1"/>
        </p:nvSpPr>
        <p:spPr>
          <a:xfrm>
            <a:off x="881888" y="966851"/>
            <a:ext cx="32819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helping to create long-term value for clients,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7CB812-3F0F-4E31-866E-7FC77FDC30AA}"/>
              </a:ext>
            </a:extLst>
          </p:cNvPr>
          <p:cNvSpPr txBox="1"/>
          <p:nvPr userDrawn="1"/>
        </p:nvSpPr>
        <p:spPr>
          <a:xfrm>
            <a:off x="881888" y="1126871"/>
            <a:ext cx="2997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people and society and build trust in the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1571E-A22B-41E4-9005-D45333540CD3}"/>
              </a:ext>
            </a:extLst>
          </p:cNvPr>
          <p:cNvSpPr txBox="1"/>
          <p:nvPr userDrawn="1"/>
        </p:nvSpPr>
        <p:spPr>
          <a:xfrm>
            <a:off x="881888" y="1287272"/>
            <a:ext cx="15140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capital markets.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8553A4-390D-4CE2-A852-2554DBF09394}"/>
              </a:ext>
            </a:extLst>
          </p:cNvPr>
          <p:cNvSpPr txBox="1"/>
          <p:nvPr userDrawn="1"/>
        </p:nvSpPr>
        <p:spPr>
          <a:xfrm>
            <a:off x="881888" y="1607312"/>
            <a:ext cx="32332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Enabled by data and technology, diverse EY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59D7E9-7D99-4DAF-9DEE-8BE3AB22E04C}"/>
              </a:ext>
            </a:extLst>
          </p:cNvPr>
          <p:cNvSpPr txBox="1"/>
          <p:nvPr userDrawn="1"/>
        </p:nvSpPr>
        <p:spPr>
          <a:xfrm>
            <a:off x="881888" y="1767332"/>
            <a:ext cx="31048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teams in over 150 countries provide trust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890ADC-F6BA-42D2-A723-19911EC42C15}"/>
              </a:ext>
            </a:extLst>
          </p:cNvPr>
          <p:cNvSpPr txBox="1"/>
          <p:nvPr userDrawn="1"/>
        </p:nvSpPr>
        <p:spPr>
          <a:xfrm>
            <a:off x="881888" y="1927352"/>
            <a:ext cx="306070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through assurance and help clients grow,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718455E-AFCA-4559-A5A8-79FFFFCF9FC1}"/>
              </a:ext>
            </a:extLst>
          </p:cNvPr>
          <p:cNvSpPr txBox="1"/>
          <p:nvPr userDrawn="1"/>
        </p:nvSpPr>
        <p:spPr>
          <a:xfrm>
            <a:off x="881888" y="2087372"/>
            <a:ext cx="19508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transform and operate.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CFADF3-5EDE-41AC-9020-50784BFD0EBF}"/>
              </a:ext>
            </a:extLst>
          </p:cNvPr>
          <p:cNvSpPr txBox="1"/>
          <p:nvPr userDrawn="1"/>
        </p:nvSpPr>
        <p:spPr>
          <a:xfrm>
            <a:off x="881888" y="2407031"/>
            <a:ext cx="316953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Working across assurance, consulting, law,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AD93FD-9DFD-4885-B7B4-3CA70A192298}"/>
              </a:ext>
            </a:extLst>
          </p:cNvPr>
          <p:cNvSpPr txBox="1"/>
          <p:nvPr userDrawn="1"/>
        </p:nvSpPr>
        <p:spPr>
          <a:xfrm>
            <a:off x="881888" y="2567686"/>
            <a:ext cx="30600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strategy, tax and transactions, EY teams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D96A0B0-40B1-43D9-9437-58800055A918}"/>
              </a:ext>
            </a:extLst>
          </p:cNvPr>
          <p:cNvSpPr txBox="1"/>
          <p:nvPr userDrawn="1"/>
        </p:nvSpPr>
        <p:spPr>
          <a:xfrm>
            <a:off x="881888" y="2727706"/>
            <a:ext cx="32696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ask better questions to find new answers for</a:t>
            </a:r>
            <a:endParaRPr lang="ko-KR" altLang="ko-KR" sz="1100">
              <a:solidFill>
                <a:srgbClr val="FFFFFF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6CE0355-FA2F-426B-A42D-F9E24D5461B7}"/>
              </a:ext>
            </a:extLst>
          </p:cNvPr>
          <p:cNvSpPr txBox="1"/>
          <p:nvPr userDrawn="1"/>
        </p:nvSpPr>
        <p:spPr>
          <a:xfrm>
            <a:off x="881888" y="2887726"/>
            <a:ext cx="31563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>
                <a:solidFill>
                  <a:srgbClr val="FFFFFF"/>
                </a:solidFill>
              </a:rPr>
              <a:t>the complex issues facing our world today.</a:t>
            </a:r>
            <a:endParaRPr lang="ko-KR" altLang="ko-KR" sz="1100">
              <a:solidFill>
                <a:srgbClr val="FFFFFF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717BE6B-27AD-4F52-B9A1-23405DECE838}"/>
              </a:ext>
            </a:extLst>
          </p:cNvPr>
          <p:cNvGrpSpPr/>
          <p:nvPr userDrawn="1"/>
        </p:nvGrpSpPr>
        <p:grpSpPr>
          <a:xfrm>
            <a:off x="5606854" y="400685"/>
            <a:ext cx="3417258" cy="2693025"/>
            <a:chOff x="5752338" y="699262"/>
            <a:chExt cx="3667760" cy="26930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6881614-25C8-415E-A836-05C359D97E4E}"/>
                </a:ext>
              </a:extLst>
            </p:cNvPr>
            <p:cNvSpPr txBox="1"/>
            <p:nvPr userDrawn="1"/>
          </p:nvSpPr>
          <p:spPr>
            <a:xfrm>
              <a:off x="5752338" y="813816"/>
              <a:ext cx="332549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member firms of Ernst &amp; Young Global Limited, each of which is a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A2DEAE9-78E6-4DCB-8674-028A5C73D796}"/>
                </a:ext>
              </a:extLst>
            </p:cNvPr>
            <p:cNvSpPr txBox="1"/>
            <p:nvPr userDrawn="1"/>
          </p:nvSpPr>
          <p:spPr>
            <a:xfrm>
              <a:off x="5752338" y="699262"/>
              <a:ext cx="366776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EY refers to the global organization, and may refer to one or more, of the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8BB02F4-2357-4C02-9B2D-F7FB1AF1C45E}"/>
                </a:ext>
              </a:extLst>
            </p:cNvPr>
            <p:cNvSpPr txBox="1"/>
            <p:nvPr userDrawn="1"/>
          </p:nvSpPr>
          <p:spPr>
            <a:xfrm>
              <a:off x="5752338" y="928116"/>
              <a:ext cx="337997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separate legal entity. Ernst &amp; Young Global Limited, a UK company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D7DB412-CC36-4313-9C17-DF29338F112D}"/>
                </a:ext>
              </a:extLst>
            </p:cNvPr>
            <p:cNvSpPr txBox="1"/>
            <p:nvPr userDrawn="1"/>
          </p:nvSpPr>
          <p:spPr>
            <a:xfrm>
              <a:off x="5752338" y="1042416"/>
              <a:ext cx="352615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limited by guarantee, does not provide services to clients. Information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40DE42-D216-46E8-B9CA-C29EA6D64A58}"/>
                </a:ext>
              </a:extLst>
            </p:cNvPr>
            <p:cNvSpPr txBox="1"/>
            <p:nvPr userDrawn="1"/>
          </p:nvSpPr>
          <p:spPr>
            <a:xfrm>
              <a:off x="5752338" y="1156716"/>
              <a:ext cx="351180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about how EY collects and uses personal data and a description of the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AFC20E0-2FB4-4681-8B5A-16E19FD0B8EA}"/>
                </a:ext>
              </a:extLst>
            </p:cNvPr>
            <p:cNvSpPr txBox="1"/>
            <p:nvPr userDrawn="1"/>
          </p:nvSpPr>
          <p:spPr>
            <a:xfrm>
              <a:off x="5752338" y="1271016"/>
              <a:ext cx="361353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rights individuals have under data protection legislation are available via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5318F49-1143-48AE-B283-84740D9DB389}"/>
                </a:ext>
              </a:extLst>
            </p:cNvPr>
            <p:cNvSpPr txBox="1"/>
            <p:nvPr userDrawn="1"/>
          </p:nvSpPr>
          <p:spPr>
            <a:xfrm>
              <a:off x="5752338" y="1385316"/>
              <a:ext cx="35791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ey.com/privacy. EY member firms do not practice law where prohibited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E95DDC0-DB07-41F6-9E99-65D32872A561}"/>
                </a:ext>
              </a:extLst>
            </p:cNvPr>
            <p:cNvSpPr txBox="1"/>
            <p:nvPr userDrawn="1"/>
          </p:nvSpPr>
          <p:spPr>
            <a:xfrm>
              <a:off x="5752338" y="1499616"/>
              <a:ext cx="357085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by local laws. For more information about our organization, please visit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EEEB90-4D08-4D24-9C19-BE2EF20C8F0B}"/>
                </a:ext>
              </a:extLst>
            </p:cNvPr>
            <p:cNvSpPr txBox="1"/>
            <p:nvPr userDrawn="1"/>
          </p:nvSpPr>
          <p:spPr>
            <a:xfrm>
              <a:off x="5752338" y="1613916"/>
              <a:ext cx="85305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ey.com.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1FE360B-88DB-4D66-A4AA-1549F159C508}"/>
                </a:ext>
              </a:extLst>
            </p:cNvPr>
            <p:cNvSpPr txBox="1"/>
            <p:nvPr userDrawn="1"/>
          </p:nvSpPr>
          <p:spPr>
            <a:xfrm>
              <a:off x="5752338" y="1976755"/>
              <a:ext cx="170881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ⓒ 2023 Ernst &amp; Young Consulting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0D49922-C6DB-4331-BE44-1E1B0B817E8C}"/>
                </a:ext>
              </a:extLst>
            </p:cNvPr>
            <p:cNvSpPr txBox="1"/>
            <p:nvPr userDrawn="1"/>
          </p:nvSpPr>
          <p:spPr>
            <a:xfrm>
              <a:off x="5752338" y="2091161"/>
              <a:ext cx="137871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All Rights Reserved.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BAA6007-8F2E-4251-9E10-B7E92BB7EFAD}"/>
                </a:ext>
              </a:extLst>
            </p:cNvPr>
            <p:cNvSpPr txBox="1"/>
            <p:nvPr userDrawn="1"/>
          </p:nvSpPr>
          <p:spPr>
            <a:xfrm>
              <a:off x="5752338" y="2300351"/>
              <a:ext cx="149517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APAC No. 05000705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0AE7ECB-7E6B-4852-B453-34F6AD71A239}"/>
                </a:ext>
              </a:extLst>
            </p:cNvPr>
            <p:cNvSpPr txBox="1"/>
            <p:nvPr userDrawn="1"/>
          </p:nvSpPr>
          <p:spPr>
            <a:xfrm>
              <a:off x="5752338" y="2422271"/>
              <a:ext cx="9029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800">
                  <a:solidFill>
                    <a:srgbClr val="FFFFFF"/>
                  </a:solidFill>
                </a:rPr>
                <a:t>ED None</a:t>
              </a:r>
              <a:endParaRPr lang="ko-KR" altLang="ko-KR" sz="800">
                <a:solidFill>
                  <a:srgbClr val="FFFFFF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54F805E-660B-4160-B208-F39776206E9F}"/>
                </a:ext>
              </a:extLst>
            </p:cNvPr>
            <p:cNvSpPr txBox="1"/>
            <p:nvPr userDrawn="1"/>
          </p:nvSpPr>
          <p:spPr>
            <a:xfrm>
              <a:off x="5752338" y="2662047"/>
              <a:ext cx="366712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600">
                  <a:solidFill>
                    <a:srgbClr val="FFFFFF"/>
                  </a:solidFill>
                </a:rPr>
                <a:t>This material has been prepared for general informational purposes only and is not intended</a:t>
              </a:r>
              <a:endParaRPr lang="ko-KR" altLang="ko-KR" sz="600">
                <a:solidFill>
                  <a:srgbClr val="FFFFFF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83B235C-D838-4473-B2D5-0FCC74FD6918}"/>
                </a:ext>
              </a:extLst>
            </p:cNvPr>
            <p:cNvSpPr txBox="1"/>
            <p:nvPr userDrawn="1"/>
          </p:nvSpPr>
          <p:spPr>
            <a:xfrm>
              <a:off x="5752338" y="2762631"/>
              <a:ext cx="3644519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600">
                  <a:solidFill>
                    <a:srgbClr val="FFFFFF"/>
                  </a:solidFill>
                </a:rPr>
                <a:t>to be relied upon as accounting, tax, legal or other professional advice. Please refer to your</a:t>
              </a:r>
              <a:endParaRPr lang="ko-KR" altLang="ko-KR" sz="600">
                <a:solidFill>
                  <a:srgbClr val="FFFFFF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9089883-24AE-45A4-A974-D876AF1A009D}"/>
                </a:ext>
              </a:extLst>
            </p:cNvPr>
            <p:cNvSpPr txBox="1"/>
            <p:nvPr userDrawn="1"/>
          </p:nvSpPr>
          <p:spPr>
            <a:xfrm>
              <a:off x="5752338" y="2863215"/>
              <a:ext cx="146050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600">
                  <a:solidFill>
                    <a:srgbClr val="FFFFFF"/>
                  </a:solidFill>
                </a:rPr>
                <a:t>advisors for specific advice.</a:t>
              </a:r>
              <a:endParaRPr lang="ko-KR" altLang="ko-KR" sz="600">
                <a:solidFill>
                  <a:srgbClr val="FFFFFF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1C1BDA7-1733-43F3-AD93-DAF4EB61899E}"/>
                </a:ext>
              </a:extLst>
            </p:cNvPr>
            <p:cNvSpPr txBox="1"/>
            <p:nvPr userDrawn="1"/>
          </p:nvSpPr>
          <p:spPr>
            <a:xfrm>
              <a:off x="5752338" y="3130677"/>
              <a:ext cx="114808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1100">
                  <a:solidFill>
                    <a:srgbClr val="FFFFFF"/>
                  </a:solidFill>
                </a:rPr>
                <a:t>ey.com/kr</a:t>
              </a:r>
              <a:endParaRPr lang="ko-KR" altLang="ko-KR" sz="11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3360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58317" y="1"/>
            <a:ext cx="3247684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6045444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5300" y="1137921"/>
            <a:ext cx="592787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95301" y="2311401"/>
            <a:ext cx="2907331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515841" y="2311403"/>
            <a:ext cx="2907331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15841" y="4236721"/>
            <a:ext cx="2907331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229C318B-FAE0-4A50-A714-607EF622AFB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2" y="907750"/>
            <a:ext cx="60595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F30-77AC-4AB5-8632-BF71395C23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2C7B75-070E-4FA8-81AA-5D744EC27B20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4475C-10CE-4EB1-B9D2-1AD083DB7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9A6C31-E14E-4A28-A9E9-2D347271C8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898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936365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8786" y="294200"/>
            <a:ext cx="7220989" cy="590400"/>
          </a:xfrm>
        </p:spPr>
        <p:txBody>
          <a:bodyPr/>
          <a:lstStyle>
            <a:lvl1pPr>
              <a:defRPr sz="1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88786" y="1137921"/>
            <a:ext cx="2227432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650833" y="1137921"/>
            <a:ext cx="2276936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162384" y="1137923"/>
            <a:ext cx="2248316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D13F91-AFC9-4CB0-B48E-B4031BDF7D7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162384" y="1137923"/>
            <a:ext cx="2248316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8BEC6-81BD-4A6C-A6CF-94332742F9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CBCD5F7-0DF9-4123-86DA-C7F0BF0B7B5C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61FBF-9B0D-493C-BE46-3C702E0F6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C1F439-4CB5-472E-B792-D16C641535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41600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2" y="1137920"/>
            <a:ext cx="669049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EAD7805E-FA43-4FE6-B59E-9A440183B7B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95301" y="907750"/>
            <a:ext cx="894701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3198B-8C42-45EB-99DF-C3F1A2A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45ABC-A91F-4289-9C66-23D8A5B14269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268C3-3843-40FF-9263-125A8E57D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3DE6C9-5E0D-49AD-8BBE-CFF57149B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9203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1" y="1137920"/>
            <a:ext cx="89154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3A56E9B-FDEB-4900-88BD-F0B34334DB41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836" y="6327648"/>
            <a:ext cx="436046" cy="41148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9E1F1-58AD-46F1-B809-9D59D3606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175385" y="6516456"/>
            <a:ext cx="129053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BB8231F0-3B52-46BE-9F1F-CD1AA9613C52}" type="datetime3">
              <a:rPr lang="en-US" smtClean="0"/>
              <a:t>4 June 202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BE3A-850C-4403-A5AC-24F2FB2AC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3750" y="6516456"/>
            <a:ext cx="334327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5301" y="6516456"/>
            <a:ext cx="71832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6142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85" r:id="rId14"/>
    <p:sldLayoutId id="2147483883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39" r:id="rId24"/>
    <p:sldLayoutId id="2147483840" r:id="rId25"/>
    <p:sldLayoutId id="2147483841" r:id="rId26"/>
    <p:sldLayoutId id="2147483892" r:id="rId27"/>
    <p:sldLayoutId id="2147483893" r:id="rId28"/>
    <p:sldLayoutId id="2147483843" r:id="rId29"/>
    <p:sldLayoutId id="2147483844" r:id="rId30"/>
    <p:sldLayoutId id="2147483845" r:id="rId31"/>
    <p:sldLayoutId id="2147483846" r:id="rId32"/>
    <p:sldLayoutId id="2147483847" r:id="rId33"/>
    <p:sldLayoutId id="2147483848" r:id="rId34"/>
    <p:sldLayoutId id="2147483849" r:id="rId35"/>
    <p:sldLayoutId id="2147483878" r:id="rId36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1" y="294200"/>
            <a:ext cx="89154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1" y="1137920"/>
            <a:ext cx="89154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B7FD3DC-C033-4841-83D1-C602DC87873C}"/>
              </a:ext>
            </a:extLst>
          </p:cNvPr>
          <p:cNvSpPr txBox="1">
            <a:spLocks/>
          </p:cNvSpPr>
          <p:nvPr userDrawn="1"/>
        </p:nvSpPr>
        <p:spPr>
          <a:xfrm>
            <a:off x="525716" y="6604450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Page </a:t>
            </a:r>
            <a:fld id="{F1BC30E3-FFE5-4B91-AA19-87A149EBB9EE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grpSp>
        <p:nvGrpSpPr>
          <p:cNvPr id="14" name="그룹 13">
            <a:extLst>
              <a:ext uri="{FF2B5EF4-FFF2-40B4-BE49-F238E27FC236}">
                <a16:creationId xmlns:a16="http://schemas.microsoft.com/office/drawing/2014/main" id="{BA35E0D4-20B7-4F14-A771-98C337B8E5E0}"/>
              </a:ext>
            </a:extLst>
          </p:cNvPr>
          <p:cNvGrpSpPr/>
          <p:nvPr userDrawn="1"/>
        </p:nvGrpSpPr>
        <p:grpSpPr>
          <a:xfrm>
            <a:off x="9012727" y="6323130"/>
            <a:ext cx="403769" cy="413617"/>
            <a:chOff x="7728472" y="3417478"/>
            <a:chExt cx="781050" cy="800100"/>
          </a:xfrm>
        </p:grpSpPr>
        <p:sp>
          <p:nvSpPr>
            <p:cNvPr id="15" name="Freeform: Shape 70">
              <a:extLst>
                <a:ext uri="{FF2B5EF4-FFF2-40B4-BE49-F238E27FC236}">
                  <a16:creationId xmlns:a16="http://schemas.microsoft.com/office/drawing/2014/main" id="{1478466C-9D8F-4429-AC4C-6F91A51EE91F}"/>
                </a:ext>
              </a:extLst>
            </p:cNvPr>
            <p:cNvSpPr/>
            <p:nvPr/>
          </p:nvSpPr>
          <p:spPr>
            <a:xfrm>
              <a:off x="7728472" y="3417478"/>
              <a:ext cx="781050" cy="295275"/>
            </a:xfrm>
            <a:custGeom>
              <a:avLst/>
              <a:gdLst>
                <a:gd name="connsiteX0" fmla="*/ 779621 w 781050"/>
                <a:gd name="connsiteY0" fmla="*/ 7144 h 295275"/>
                <a:gd name="connsiteX1" fmla="*/ 7144 w 781050"/>
                <a:gd name="connsiteY1" fmla="*/ 289084 h 295275"/>
                <a:gd name="connsiteX2" fmla="*/ 779621 w 781050"/>
                <a:gd name="connsiteY2" fmla="*/ 152876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1050" h="295275">
                  <a:moveTo>
                    <a:pt x="779621" y="7144"/>
                  </a:moveTo>
                  <a:lnTo>
                    <a:pt x="7144" y="289084"/>
                  </a:lnTo>
                  <a:lnTo>
                    <a:pt x="779621" y="152876"/>
                  </a:lnTo>
                  <a:close/>
                </a:path>
              </a:pathLst>
            </a:custGeom>
            <a:solidFill>
              <a:srgbClr val="FFE6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" name="Freeform: Shape 78">
              <a:extLst>
                <a:ext uri="{FF2B5EF4-FFF2-40B4-BE49-F238E27FC236}">
                  <a16:creationId xmlns:a16="http://schemas.microsoft.com/office/drawing/2014/main" id="{C291858E-03E3-4865-B353-8770ED85D88A}"/>
                </a:ext>
              </a:extLst>
            </p:cNvPr>
            <p:cNvSpPr/>
            <p:nvPr/>
          </p:nvSpPr>
          <p:spPr>
            <a:xfrm>
              <a:off x="7736092" y="3817528"/>
              <a:ext cx="323850" cy="400050"/>
            </a:xfrm>
            <a:custGeom>
              <a:avLst/>
              <a:gdLst>
                <a:gd name="connsiteX0" fmla="*/ 124301 w 323850"/>
                <a:gd name="connsiteY0" fmla="*/ 243364 h 400050"/>
                <a:gd name="connsiteX1" fmla="*/ 266224 w 323850"/>
                <a:gd name="connsiteY1" fmla="*/ 243364 h 400050"/>
                <a:gd name="connsiteX2" fmla="*/ 266224 w 323850"/>
                <a:gd name="connsiteY2" fmla="*/ 161449 h 400050"/>
                <a:gd name="connsiteX3" fmla="*/ 124301 w 323850"/>
                <a:gd name="connsiteY3" fmla="*/ 161449 h 400050"/>
                <a:gd name="connsiteX4" fmla="*/ 124301 w 323850"/>
                <a:gd name="connsiteY4" fmla="*/ 96679 h 400050"/>
                <a:gd name="connsiteX5" fmla="*/ 280511 w 323850"/>
                <a:gd name="connsiteY5" fmla="*/ 96679 h 400050"/>
                <a:gd name="connsiteX6" fmla="*/ 229076 w 323850"/>
                <a:gd name="connsiteY6" fmla="*/ 7144 h 400050"/>
                <a:gd name="connsiteX7" fmla="*/ 7144 w 323850"/>
                <a:gd name="connsiteY7" fmla="*/ 7144 h 400050"/>
                <a:gd name="connsiteX8" fmla="*/ 7144 w 323850"/>
                <a:gd name="connsiteY8" fmla="*/ 397669 h 400050"/>
                <a:gd name="connsiteX9" fmla="*/ 320516 w 323850"/>
                <a:gd name="connsiteY9" fmla="*/ 397669 h 400050"/>
                <a:gd name="connsiteX10" fmla="*/ 320516 w 323850"/>
                <a:gd name="connsiteY10" fmla="*/ 307181 h 400050"/>
                <a:gd name="connsiteX11" fmla="*/ 124301 w 323850"/>
                <a:gd name="connsiteY11" fmla="*/ 30718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3850" h="400050">
                  <a:moveTo>
                    <a:pt x="124301" y="243364"/>
                  </a:moveTo>
                  <a:lnTo>
                    <a:pt x="266224" y="243364"/>
                  </a:lnTo>
                  <a:lnTo>
                    <a:pt x="266224" y="161449"/>
                  </a:lnTo>
                  <a:lnTo>
                    <a:pt x="124301" y="161449"/>
                  </a:lnTo>
                  <a:lnTo>
                    <a:pt x="124301" y="96679"/>
                  </a:lnTo>
                  <a:lnTo>
                    <a:pt x="280511" y="96679"/>
                  </a:lnTo>
                  <a:lnTo>
                    <a:pt x="229076" y="7144"/>
                  </a:lnTo>
                  <a:lnTo>
                    <a:pt x="7144" y="7144"/>
                  </a:lnTo>
                  <a:lnTo>
                    <a:pt x="7144" y="397669"/>
                  </a:lnTo>
                  <a:lnTo>
                    <a:pt x="320516" y="397669"/>
                  </a:lnTo>
                  <a:lnTo>
                    <a:pt x="320516" y="307181"/>
                  </a:lnTo>
                  <a:lnTo>
                    <a:pt x="124301" y="307181"/>
                  </a:lnTo>
                  <a:close/>
                </a:path>
              </a:pathLst>
            </a:custGeom>
            <a:solidFill>
              <a:srgbClr val="181D2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" name="Freeform: Shape 79">
              <a:extLst>
                <a:ext uri="{FF2B5EF4-FFF2-40B4-BE49-F238E27FC236}">
                  <a16:creationId xmlns:a16="http://schemas.microsoft.com/office/drawing/2014/main" id="{61F79EAC-79DB-4094-8008-99E479CAACD7}"/>
                </a:ext>
              </a:extLst>
            </p:cNvPr>
            <p:cNvSpPr/>
            <p:nvPr/>
          </p:nvSpPr>
          <p:spPr>
            <a:xfrm>
              <a:off x="7995172" y="3817528"/>
              <a:ext cx="400050" cy="400050"/>
            </a:xfrm>
            <a:custGeom>
              <a:avLst/>
              <a:gdLst>
                <a:gd name="connsiteX0" fmla="*/ 269081 w 400050"/>
                <a:gd name="connsiteY0" fmla="*/ 7144 h 400050"/>
                <a:gd name="connsiteX1" fmla="*/ 202406 w 400050"/>
                <a:gd name="connsiteY1" fmla="*/ 133826 h 400050"/>
                <a:gd name="connsiteX2" fmla="*/ 136684 w 400050"/>
                <a:gd name="connsiteY2" fmla="*/ 7144 h 400050"/>
                <a:gd name="connsiteX3" fmla="*/ 7144 w 400050"/>
                <a:gd name="connsiteY3" fmla="*/ 7144 h 400050"/>
                <a:gd name="connsiteX4" fmla="*/ 143351 w 400050"/>
                <a:gd name="connsiteY4" fmla="*/ 243364 h 400050"/>
                <a:gd name="connsiteX5" fmla="*/ 143351 w 400050"/>
                <a:gd name="connsiteY5" fmla="*/ 397669 h 400050"/>
                <a:gd name="connsiteX6" fmla="*/ 260509 w 400050"/>
                <a:gd name="connsiteY6" fmla="*/ 397669 h 400050"/>
                <a:gd name="connsiteX7" fmla="*/ 260509 w 400050"/>
                <a:gd name="connsiteY7" fmla="*/ 243364 h 400050"/>
                <a:gd name="connsiteX8" fmla="*/ 396716 w 400050"/>
                <a:gd name="connsiteY8" fmla="*/ 7144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050" h="400050">
                  <a:moveTo>
                    <a:pt x="269081" y="7144"/>
                  </a:moveTo>
                  <a:lnTo>
                    <a:pt x="202406" y="133826"/>
                  </a:lnTo>
                  <a:lnTo>
                    <a:pt x="136684" y="7144"/>
                  </a:lnTo>
                  <a:lnTo>
                    <a:pt x="7144" y="7144"/>
                  </a:lnTo>
                  <a:lnTo>
                    <a:pt x="143351" y="243364"/>
                  </a:lnTo>
                  <a:lnTo>
                    <a:pt x="143351" y="397669"/>
                  </a:lnTo>
                  <a:lnTo>
                    <a:pt x="260509" y="397669"/>
                  </a:lnTo>
                  <a:lnTo>
                    <a:pt x="260509" y="243364"/>
                  </a:lnTo>
                  <a:lnTo>
                    <a:pt x="396716" y="7144"/>
                  </a:lnTo>
                  <a:close/>
                </a:path>
              </a:pathLst>
            </a:custGeom>
            <a:solidFill>
              <a:srgbClr val="181D2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659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9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84" r:id="rId15"/>
    <p:sldLayoutId id="2147483886" r:id="rId16"/>
    <p:sldLayoutId id="2147483865" r:id="rId17"/>
    <p:sldLayoutId id="2147483867" r:id="rId18"/>
    <p:sldLayoutId id="2147483868" r:id="rId19"/>
    <p:sldLayoutId id="2147483875" r:id="rId20"/>
    <p:sldLayoutId id="2147483890" r:id="rId21"/>
    <p:sldLayoutId id="2147483891" r:id="rId22"/>
    <p:sldLayoutId id="2147483876" r:id="rId23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77A98F38-74C5-4BB2-AF77-A9C45F16A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507" y="325170"/>
            <a:ext cx="9205888" cy="584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altLang="ko-KR"/>
              <a:t>Click to edit Master title style</a:t>
            </a:r>
            <a:endParaRPr lang="en-GB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4ABA20D3-58BA-4071-AE32-E3D592EC709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5219" y="6277657"/>
            <a:ext cx="9248941" cy="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8195C4A8-68C1-4973-A90C-C24DE12BF2C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35220" y="888009"/>
            <a:ext cx="9224175" cy="3759"/>
          </a:xfrm>
          <a:prstGeom prst="line">
            <a:avLst/>
          </a:prstGeom>
          <a:noFill/>
          <a:ln w="19050">
            <a:solidFill>
              <a:srgbClr val="FFC0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8EABFE59-B0B3-4F11-81B1-F787BC7F3F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92638" y="6543362"/>
            <a:ext cx="7207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>
              <a:spcBef>
                <a:spcPct val="0"/>
              </a:spcBef>
              <a:buSzTx/>
              <a:buFontTx/>
              <a:buNone/>
              <a:defRPr/>
            </a:pPr>
            <a:r>
              <a:rPr lang="en-US" altLang="ko-KR" sz="1000" b="0">
                <a:solidFill>
                  <a:srgbClr val="000000"/>
                </a:solidFill>
                <a:latin typeface="+mn-ea"/>
                <a:ea typeface="+mn-ea"/>
                <a:cs typeface="Arial" pitchFamily="34" charset="0"/>
              </a:rPr>
              <a:t>Page </a:t>
            </a:r>
            <a:fld id="{597D771D-878F-4026-A070-35F4F95877ED}" type="slidenum">
              <a:rPr lang="ko-KR" altLang="en-US" sz="1000" b="0" smtClean="0">
                <a:solidFill>
                  <a:srgbClr val="000000"/>
                </a:solidFill>
                <a:latin typeface="+mn-ea"/>
                <a:ea typeface="+mn-ea"/>
                <a:cs typeface="Arial" pitchFamily="34" charset="0"/>
              </a:rPr>
              <a:pPr algn="ctr">
                <a:spcBef>
                  <a:spcPct val="0"/>
                </a:spcBef>
                <a:buSzTx/>
                <a:buFontTx/>
                <a:buNone/>
                <a:defRPr/>
              </a:pPr>
              <a:t>‹#›</a:t>
            </a:fld>
            <a:endParaRPr lang="en-US" altLang="ko-KR" sz="1000" b="0">
              <a:solidFill>
                <a:srgbClr val="000000"/>
              </a:solidFill>
              <a:latin typeface="+mn-ea"/>
              <a:ea typeface="+mn-ea"/>
              <a:cs typeface="Arial" pitchFamily="34" charset="0"/>
            </a:endParaRPr>
          </a:p>
        </p:txBody>
      </p:sp>
      <p:grpSp>
        <p:nvGrpSpPr>
          <p:cNvPr id="35" name="Group 47">
            <a:extLst>
              <a:ext uri="{FF2B5EF4-FFF2-40B4-BE49-F238E27FC236}">
                <a16:creationId xmlns:a16="http://schemas.microsoft.com/office/drawing/2014/main" id="{9D72F35C-CB54-4E58-8730-4E8E781E2FB8}"/>
              </a:ext>
            </a:extLst>
          </p:cNvPr>
          <p:cNvGrpSpPr/>
          <p:nvPr userDrawn="1"/>
        </p:nvGrpSpPr>
        <p:grpSpPr>
          <a:xfrm>
            <a:off x="9227611" y="6431279"/>
            <a:ext cx="308933" cy="308933"/>
            <a:chOff x="1543109" y="3268776"/>
            <a:chExt cx="772763" cy="789430"/>
          </a:xfrm>
        </p:grpSpPr>
        <p:grpSp>
          <p:nvGrpSpPr>
            <p:cNvPr id="36" name="Graphic 1">
              <a:extLst>
                <a:ext uri="{FF2B5EF4-FFF2-40B4-BE49-F238E27FC236}">
                  <a16:creationId xmlns:a16="http://schemas.microsoft.com/office/drawing/2014/main" id="{44D49DCD-7C77-417A-B7A1-3CE82267A62C}"/>
                </a:ext>
              </a:extLst>
            </p:cNvPr>
            <p:cNvGrpSpPr/>
            <p:nvPr/>
          </p:nvGrpSpPr>
          <p:grpSpPr>
            <a:xfrm>
              <a:off x="1550729" y="3668063"/>
              <a:ext cx="646747" cy="389667"/>
              <a:chOff x="1550729" y="3668063"/>
              <a:chExt cx="646747" cy="389667"/>
            </a:xfrm>
            <a:solidFill>
              <a:srgbClr val="181D29"/>
            </a:solidFill>
          </p:grpSpPr>
          <p:sp>
            <p:nvSpPr>
              <p:cNvPr id="41" name="Freeform: Shape 53">
                <a:extLst>
                  <a:ext uri="{FF2B5EF4-FFF2-40B4-BE49-F238E27FC236}">
                    <a16:creationId xmlns:a16="http://schemas.microsoft.com/office/drawing/2014/main" id="{650D205A-F970-4CE6-8481-CF24DE983B45}"/>
                  </a:ext>
                </a:extLst>
              </p:cNvPr>
              <p:cNvSpPr/>
              <p:nvPr/>
            </p:nvSpPr>
            <p:spPr>
              <a:xfrm>
                <a:off x="1550729" y="3668063"/>
                <a:ext cx="311753" cy="389667"/>
              </a:xfrm>
              <a:custGeom>
                <a:avLst/>
                <a:gdLst>
                  <a:gd name="connsiteX0" fmla="*/ 116872 w 311753"/>
                  <a:gd name="connsiteY0" fmla="*/ 235744 h 389667"/>
                  <a:gd name="connsiteX1" fmla="*/ 257747 w 311753"/>
                  <a:gd name="connsiteY1" fmla="*/ 235744 h 389667"/>
                  <a:gd name="connsiteX2" fmla="*/ 257747 w 311753"/>
                  <a:gd name="connsiteY2" fmla="*/ 153924 h 389667"/>
                  <a:gd name="connsiteX3" fmla="*/ 116872 w 311753"/>
                  <a:gd name="connsiteY3" fmla="*/ 153924 h 389667"/>
                  <a:gd name="connsiteX4" fmla="*/ 116872 w 311753"/>
                  <a:gd name="connsiteY4" fmla="*/ 89630 h 389667"/>
                  <a:gd name="connsiteX5" fmla="*/ 272701 w 311753"/>
                  <a:gd name="connsiteY5" fmla="*/ 89630 h 389667"/>
                  <a:gd name="connsiteX6" fmla="*/ 220980 w 311753"/>
                  <a:gd name="connsiteY6" fmla="*/ 0 h 389667"/>
                  <a:gd name="connsiteX7" fmla="*/ 0 w 311753"/>
                  <a:gd name="connsiteY7" fmla="*/ 0 h 389667"/>
                  <a:gd name="connsiteX8" fmla="*/ 0 w 311753"/>
                  <a:gd name="connsiteY8" fmla="*/ 389668 h 389667"/>
                  <a:gd name="connsiteX9" fmla="*/ 311753 w 311753"/>
                  <a:gd name="connsiteY9" fmla="*/ 389668 h 389667"/>
                  <a:gd name="connsiteX10" fmla="*/ 311753 w 311753"/>
                  <a:gd name="connsiteY10" fmla="*/ 300038 h 389667"/>
                  <a:gd name="connsiteX11" fmla="*/ 116872 w 311753"/>
                  <a:gd name="connsiteY11" fmla="*/ 300038 h 389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1753" h="389667">
                    <a:moveTo>
                      <a:pt x="116872" y="235744"/>
                    </a:moveTo>
                    <a:lnTo>
                      <a:pt x="257747" y="235744"/>
                    </a:lnTo>
                    <a:lnTo>
                      <a:pt x="257747" y="153924"/>
                    </a:lnTo>
                    <a:lnTo>
                      <a:pt x="116872" y="153924"/>
                    </a:lnTo>
                    <a:lnTo>
                      <a:pt x="116872" y="89630"/>
                    </a:lnTo>
                    <a:lnTo>
                      <a:pt x="272701" y="89630"/>
                    </a:lnTo>
                    <a:lnTo>
                      <a:pt x="220980" y="0"/>
                    </a:lnTo>
                    <a:lnTo>
                      <a:pt x="0" y="0"/>
                    </a:lnTo>
                    <a:lnTo>
                      <a:pt x="0" y="389668"/>
                    </a:lnTo>
                    <a:lnTo>
                      <a:pt x="311753" y="389668"/>
                    </a:lnTo>
                    <a:lnTo>
                      <a:pt x="311753" y="300038"/>
                    </a:lnTo>
                    <a:lnTo>
                      <a:pt x="116872" y="300038"/>
                    </a:lnTo>
                    <a:close/>
                  </a:path>
                </a:pathLst>
              </a:custGeom>
              <a:solidFill>
                <a:srgbClr val="181D2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D7519B1-98FD-4177-B8D9-778C7075B5CE}"/>
                  </a:ext>
                </a:extLst>
              </p:cNvPr>
              <p:cNvSpPr/>
              <p:nvPr/>
            </p:nvSpPr>
            <p:spPr>
              <a:xfrm>
                <a:off x="1808475" y="3668063"/>
                <a:ext cx="389000" cy="389667"/>
              </a:xfrm>
              <a:custGeom>
                <a:avLst/>
                <a:gdLst>
                  <a:gd name="connsiteX0" fmla="*/ 261461 w 389000"/>
                  <a:gd name="connsiteY0" fmla="*/ 0 h 389667"/>
                  <a:gd name="connsiteX1" fmla="*/ 195263 w 389000"/>
                  <a:gd name="connsiteY1" fmla="*/ 127159 h 389667"/>
                  <a:gd name="connsiteX2" fmla="*/ 129159 w 389000"/>
                  <a:gd name="connsiteY2" fmla="*/ 0 h 389667"/>
                  <a:gd name="connsiteX3" fmla="*/ 0 w 389000"/>
                  <a:gd name="connsiteY3" fmla="*/ 0 h 389667"/>
                  <a:gd name="connsiteX4" fmla="*/ 136112 w 389000"/>
                  <a:gd name="connsiteY4" fmla="*/ 235744 h 389667"/>
                  <a:gd name="connsiteX5" fmla="*/ 136112 w 389000"/>
                  <a:gd name="connsiteY5" fmla="*/ 389668 h 389667"/>
                  <a:gd name="connsiteX6" fmla="*/ 252698 w 389000"/>
                  <a:gd name="connsiteY6" fmla="*/ 389668 h 389667"/>
                  <a:gd name="connsiteX7" fmla="*/ 252698 w 389000"/>
                  <a:gd name="connsiteY7" fmla="*/ 235744 h 389667"/>
                  <a:gd name="connsiteX8" fmla="*/ 389001 w 389000"/>
                  <a:gd name="connsiteY8" fmla="*/ 0 h 389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9000" h="389667">
                    <a:moveTo>
                      <a:pt x="261461" y="0"/>
                    </a:moveTo>
                    <a:lnTo>
                      <a:pt x="195263" y="127159"/>
                    </a:lnTo>
                    <a:lnTo>
                      <a:pt x="129159" y="0"/>
                    </a:lnTo>
                    <a:lnTo>
                      <a:pt x="0" y="0"/>
                    </a:lnTo>
                    <a:lnTo>
                      <a:pt x="136112" y="235744"/>
                    </a:lnTo>
                    <a:lnTo>
                      <a:pt x="136112" y="389668"/>
                    </a:lnTo>
                    <a:lnTo>
                      <a:pt x="252698" y="389668"/>
                    </a:lnTo>
                    <a:lnTo>
                      <a:pt x="252698" y="235744"/>
                    </a:lnTo>
                    <a:lnTo>
                      <a:pt x="389001" y="0"/>
                    </a:lnTo>
                    <a:close/>
                  </a:path>
                </a:pathLst>
              </a:custGeom>
              <a:solidFill>
                <a:srgbClr val="181D2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grpSp>
          <p:nvGrpSpPr>
            <p:cNvPr id="37" name="Graphic 1">
              <a:extLst>
                <a:ext uri="{FF2B5EF4-FFF2-40B4-BE49-F238E27FC236}">
                  <a16:creationId xmlns:a16="http://schemas.microsoft.com/office/drawing/2014/main" id="{AB7F73C2-A8E7-4B6C-9B20-4F3897642A33}"/>
                </a:ext>
              </a:extLst>
            </p:cNvPr>
            <p:cNvGrpSpPr/>
            <p:nvPr/>
          </p:nvGrpSpPr>
          <p:grpSpPr>
            <a:xfrm>
              <a:off x="1550729" y="3668063"/>
              <a:ext cx="647509" cy="390143"/>
              <a:chOff x="1550729" y="3668063"/>
              <a:chExt cx="647509" cy="390143"/>
            </a:xfrm>
            <a:solidFill>
              <a:srgbClr val="181D29"/>
            </a:solidFill>
          </p:grpSpPr>
          <p:sp>
            <p:nvSpPr>
              <p:cNvPr id="39" name="Freeform: Shape 51">
                <a:extLst>
                  <a:ext uri="{FF2B5EF4-FFF2-40B4-BE49-F238E27FC236}">
                    <a16:creationId xmlns:a16="http://schemas.microsoft.com/office/drawing/2014/main" id="{C210D63F-BC72-42F7-BCCB-5D723DF96A10}"/>
                  </a:ext>
                </a:extLst>
              </p:cNvPr>
              <p:cNvSpPr/>
              <p:nvPr/>
            </p:nvSpPr>
            <p:spPr>
              <a:xfrm>
                <a:off x="1550729" y="3668063"/>
                <a:ext cx="312134" cy="390143"/>
              </a:xfrm>
              <a:custGeom>
                <a:avLst/>
                <a:gdLst>
                  <a:gd name="connsiteX0" fmla="*/ 116967 w 312134"/>
                  <a:gd name="connsiteY0" fmla="*/ 236029 h 390143"/>
                  <a:gd name="connsiteX1" fmla="*/ 258128 w 312134"/>
                  <a:gd name="connsiteY1" fmla="*/ 236029 h 390143"/>
                  <a:gd name="connsiteX2" fmla="*/ 258128 w 312134"/>
                  <a:gd name="connsiteY2" fmla="*/ 154115 h 390143"/>
                  <a:gd name="connsiteX3" fmla="*/ 116967 w 312134"/>
                  <a:gd name="connsiteY3" fmla="*/ 154115 h 390143"/>
                  <a:gd name="connsiteX4" fmla="*/ 116967 w 312134"/>
                  <a:gd name="connsiteY4" fmla="*/ 89726 h 390143"/>
                  <a:gd name="connsiteX5" fmla="*/ 273082 w 312134"/>
                  <a:gd name="connsiteY5" fmla="*/ 89726 h 390143"/>
                  <a:gd name="connsiteX6" fmla="*/ 221266 w 312134"/>
                  <a:gd name="connsiteY6" fmla="*/ 0 h 390143"/>
                  <a:gd name="connsiteX7" fmla="*/ 0 w 312134"/>
                  <a:gd name="connsiteY7" fmla="*/ 0 h 390143"/>
                  <a:gd name="connsiteX8" fmla="*/ 0 w 312134"/>
                  <a:gd name="connsiteY8" fmla="*/ 390144 h 390143"/>
                  <a:gd name="connsiteX9" fmla="*/ 312134 w 312134"/>
                  <a:gd name="connsiteY9" fmla="*/ 390144 h 390143"/>
                  <a:gd name="connsiteX10" fmla="*/ 312134 w 312134"/>
                  <a:gd name="connsiteY10" fmla="*/ 300419 h 390143"/>
                  <a:gd name="connsiteX11" fmla="*/ 116967 w 312134"/>
                  <a:gd name="connsiteY11" fmla="*/ 300419 h 390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2134" h="390143">
                    <a:moveTo>
                      <a:pt x="116967" y="236029"/>
                    </a:moveTo>
                    <a:lnTo>
                      <a:pt x="258128" y="236029"/>
                    </a:lnTo>
                    <a:lnTo>
                      <a:pt x="258128" y="154115"/>
                    </a:lnTo>
                    <a:lnTo>
                      <a:pt x="116967" y="154115"/>
                    </a:lnTo>
                    <a:lnTo>
                      <a:pt x="116967" y="89726"/>
                    </a:lnTo>
                    <a:lnTo>
                      <a:pt x="273082" y="89726"/>
                    </a:lnTo>
                    <a:lnTo>
                      <a:pt x="221266" y="0"/>
                    </a:lnTo>
                    <a:lnTo>
                      <a:pt x="0" y="0"/>
                    </a:lnTo>
                    <a:lnTo>
                      <a:pt x="0" y="390144"/>
                    </a:lnTo>
                    <a:lnTo>
                      <a:pt x="312134" y="390144"/>
                    </a:lnTo>
                    <a:lnTo>
                      <a:pt x="312134" y="300419"/>
                    </a:lnTo>
                    <a:lnTo>
                      <a:pt x="116967" y="300419"/>
                    </a:lnTo>
                    <a:close/>
                  </a:path>
                </a:pathLst>
              </a:custGeom>
              <a:solidFill>
                <a:srgbClr val="181D2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40" name="Freeform: Shape 52">
                <a:extLst>
                  <a:ext uri="{FF2B5EF4-FFF2-40B4-BE49-F238E27FC236}">
                    <a16:creationId xmlns:a16="http://schemas.microsoft.com/office/drawing/2014/main" id="{B5FF2FEB-9C6C-4224-975D-992087C5D293}"/>
                  </a:ext>
                </a:extLst>
              </p:cNvPr>
              <p:cNvSpPr/>
              <p:nvPr/>
            </p:nvSpPr>
            <p:spPr>
              <a:xfrm>
                <a:off x="1808761" y="3668063"/>
                <a:ext cx="389477" cy="390143"/>
              </a:xfrm>
              <a:custGeom>
                <a:avLst/>
                <a:gdLst>
                  <a:gd name="connsiteX0" fmla="*/ 261842 w 389477"/>
                  <a:gd name="connsiteY0" fmla="*/ 0 h 390143"/>
                  <a:gd name="connsiteX1" fmla="*/ 195548 w 389477"/>
                  <a:gd name="connsiteY1" fmla="*/ 127349 h 390143"/>
                  <a:gd name="connsiteX2" fmla="*/ 129350 w 389477"/>
                  <a:gd name="connsiteY2" fmla="*/ 0 h 390143"/>
                  <a:gd name="connsiteX3" fmla="*/ 0 w 389477"/>
                  <a:gd name="connsiteY3" fmla="*/ 0 h 390143"/>
                  <a:gd name="connsiteX4" fmla="*/ 136303 w 389477"/>
                  <a:gd name="connsiteY4" fmla="*/ 236029 h 390143"/>
                  <a:gd name="connsiteX5" fmla="*/ 136303 w 389477"/>
                  <a:gd name="connsiteY5" fmla="*/ 390144 h 390143"/>
                  <a:gd name="connsiteX6" fmla="*/ 252984 w 389477"/>
                  <a:gd name="connsiteY6" fmla="*/ 390144 h 390143"/>
                  <a:gd name="connsiteX7" fmla="*/ 252984 w 389477"/>
                  <a:gd name="connsiteY7" fmla="*/ 236029 h 390143"/>
                  <a:gd name="connsiteX8" fmla="*/ 389477 w 389477"/>
                  <a:gd name="connsiteY8" fmla="*/ 0 h 390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9477" h="390143">
                    <a:moveTo>
                      <a:pt x="261842" y="0"/>
                    </a:moveTo>
                    <a:lnTo>
                      <a:pt x="195548" y="127349"/>
                    </a:lnTo>
                    <a:lnTo>
                      <a:pt x="129350" y="0"/>
                    </a:lnTo>
                    <a:lnTo>
                      <a:pt x="0" y="0"/>
                    </a:lnTo>
                    <a:lnTo>
                      <a:pt x="136303" y="236029"/>
                    </a:lnTo>
                    <a:lnTo>
                      <a:pt x="136303" y="390144"/>
                    </a:lnTo>
                    <a:lnTo>
                      <a:pt x="252984" y="390144"/>
                    </a:lnTo>
                    <a:lnTo>
                      <a:pt x="252984" y="236029"/>
                    </a:lnTo>
                    <a:lnTo>
                      <a:pt x="389477" y="0"/>
                    </a:lnTo>
                    <a:close/>
                  </a:path>
                </a:pathLst>
              </a:custGeom>
              <a:solidFill>
                <a:srgbClr val="181D2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ko-KR" altLang="en-US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38" name="Freeform: Shape 50">
              <a:extLst>
                <a:ext uri="{FF2B5EF4-FFF2-40B4-BE49-F238E27FC236}">
                  <a16:creationId xmlns:a16="http://schemas.microsoft.com/office/drawing/2014/main" id="{17D0FBC3-FB58-4DCF-AC7C-73E1D38A7C79}"/>
                </a:ext>
              </a:extLst>
            </p:cNvPr>
            <p:cNvSpPr/>
            <p:nvPr/>
          </p:nvSpPr>
          <p:spPr>
            <a:xfrm>
              <a:off x="1543109" y="3268776"/>
              <a:ext cx="772763" cy="282035"/>
            </a:xfrm>
            <a:custGeom>
              <a:avLst/>
              <a:gdLst>
                <a:gd name="connsiteX0" fmla="*/ 772763 w 772763"/>
                <a:gd name="connsiteY0" fmla="*/ 0 h 282035"/>
                <a:gd name="connsiteX1" fmla="*/ 0 w 772763"/>
                <a:gd name="connsiteY1" fmla="*/ 282035 h 282035"/>
                <a:gd name="connsiteX2" fmla="*/ 772763 w 772763"/>
                <a:gd name="connsiteY2" fmla="*/ 145542 h 28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72763" h="282035">
                  <a:moveTo>
                    <a:pt x="772763" y="0"/>
                  </a:moveTo>
                  <a:lnTo>
                    <a:pt x="0" y="282035"/>
                  </a:lnTo>
                  <a:lnTo>
                    <a:pt x="772763" y="145542"/>
                  </a:lnTo>
                  <a:close/>
                </a:path>
              </a:pathLst>
            </a:custGeom>
            <a:solidFill>
              <a:srgbClr val="FFD5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ko-KR" altLang="en-US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032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ea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dataiku.com/llm-mesh?_gl=1*13l6hka*_ga*NzExODA3NTUxLjE3MTcxNDU0OTU.*_ga_B3YXRYMY48*MTcxNzQ4MjkxOS44LjEuMTcxNzQ4MzUwMi42MC4wLjA.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docs.llamaindex.ai/en/stable/" TargetMode="External"/><Relationship Id="rId4" Type="http://schemas.openxmlformats.org/officeDocument/2006/relationships/hyperlink" Target="https://python.langchain.com/docs/get_started/introduction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dataiku.com/llm-mesh?_gl=1*13l6hka*_ga*NzExODA3NTUxLjE3MTcxNDU0OTU.*_ga_B3YXRYMY48*MTcxNzQ4MjkxOS44LjEuMTcxNzQ4MzUwMi42MC4wLjA.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5" Type="http://schemas.openxmlformats.org/officeDocument/2006/relationships/hyperlink" Target="https://docs.llamaindex.ai/en/stable/" TargetMode="External"/><Relationship Id="rId4" Type="http://schemas.openxmlformats.org/officeDocument/2006/relationships/hyperlink" Target="https://python.langchain.com/docs/get_started/introduction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>
            <a:extLst>
              <a:ext uri="{FF2B5EF4-FFF2-40B4-BE49-F238E27FC236}">
                <a16:creationId xmlns:a16="http://schemas.microsoft.com/office/drawing/2014/main" id="{F7F9FDFB-C051-401A-A1FA-8C3FDD711F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rIns="0" anchor="ctr"/>
          <a:lstStyle/>
          <a:p>
            <a:pPr algn="l"/>
            <a:r>
              <a:rPr lang="en-US" altLang="ko-KR" sz="1600" b="1" spc="-100" dirty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+mj-cs"/>
              </a:rPr>
              <a:t>2024. 01</a:t>
            </a:r>
            <a:endParaRPr lang="ko-KR" altLang="en-US" sz="1600" b="1" spc="-10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tx1"/>
              </a:solidFill>
              <a:latin typeface="+mn-ea"/>
              <a:ea typeface="+mn-ea"/>
              <a:cs typeface="+mj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89481D7-FF17-4C4D-8A5B-0ED6248343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0" rIns="0"/>
          <a:lstStyle/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altLang="ko-KR" sz="3200" spc="-10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+mn-ea"/>
                <a:ea typeface="+mn-ea"/>
                <a:cs typeface="+mj-cs"/>
              </a:rPr>
              <a:t>Dataiku</a:t>
            </a:r>
            <a:r>
              <a:rPr lang="ko-KR" altLang="en-US" sz="3200" spc="-100" dirty="0">
                <a:ln>
                  <a:solidFill>
                    <a:schemeClr val="accent1">
                      <a:alpha val="0"/>
                    </a:schemeClr>
                  </a:solidFill>
                </a:ln>
                <a:latin typeface="+mn-ea"/>
                <a:ea typeface="+mn-ea"/>
                <a:cs typeface="+mj-cs"/>
              </a:rPr>
              <a:t> 조사</a:t>
            </a:r>
            <a:endParaRPr lang="ko-KR" altLang="en-US" sz="2000" spc="-100" dirty="0">
              <a:ln>
                <a:solidFill>
                  <a:schemeClr val="accent1">
                    <a:alpha val="0"/>
                  </a:schemeClr>
                </a:solidFill>
              </a:ln>
              <a:latin typeface="+mn-ea"/>
              <a:ea typeface="+mn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74142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/>
          </p:cNvSpPr>
          <p:nvPr/>
        </p:nvSpPr>
        <p:spPr bwMode="gray">
          <a:xfrm>
            <a:off x="495300" y="1196553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88950" y="441325"/>
            <a:ext cx="8426450" cy="603250"/>
          </a:xfrm>
        </p:spPr>
        <p:txBody>
          <a:bodyPr/>
          <a:lstStyle/>
          <a:p>
            <a:r>
              <a:rPr lang="en-US" altLang="ko-KR" b="1" spc="-150" dirty="0">
                <a:latin typeface="+mn-ea"/>
                <a:ea typeface="+mn-ea"/>
              </a:rPr>
              <a:t>Table of Contents</a:t>
            </a:r>
            <a:endParaRPr lang="ko-KR" altLang="en-US" b="1" spc="-150" dirty="0">
              <a:latin typeface="+mn-ea"/>
              <a:ea typeface="+mn-ea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884993" y="1557338"/>
            <a:ext cx="7777225" cy="43843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tabLst/>
              <a:defRPr/>
            </a:pP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Dataiku </a:t>
            </a:r>
            <a:r>
              <a:rPr lang="ko-KR" altLang="en-US" sz="1600" spc="-150" dirty="0">
                <a:solidFill>
                  <a:srgbClr val="333333"/>
                </a:solidFill>
                <a:latin typeface="+mn-ea"/>
              </a:rPr>
              <a:t>개요</a:t>
            </a: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800100" lvl="1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r>
              <a:rPr lang="ko-KR" altLang="en-US" sz="1600" spc="-150" dirty="0">
                <a:solidFill>
                  <a:srgbClr val="333333"/>
                </a:solidFill>
                <a:latin typeface="+mn-ea"/>
              </a:rPr>
              <a:t>회사 일반 사항 </a:t>
            </a: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/ </a:t>
            </a:r>
            <a:r>
              <a:rPr lang="ko-KR" altLang="en-US" sz="1600" spc="-150" dirty="0">
                <a:solidFill>
                  <a:srgbClr val="333333"/>
                </a:solidFill>
                <a:latin typeface="+mn-ea"/>
              </a:rPr>
              <a:t>솔루션 소개</a:t>
            </a: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800100" lvl="1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tabLst/>
              <a:defRPr/>
            </a:pP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Dataiku </a:t>
            </a:r>
            <a:r>
              <a:rPr lang="ko-KR" altLang="en-US" sz="1600" spc="-150" dirty="0">
                <a:solidFill>
                  <a:srgbClr val="333333"/>
                </a:solidFill>
                <a:latin typeface="+mn-ea"/>
              </a:rPr>
              <a:t>사용 사례</a:t>
            </a: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tabLst/>
              <a:defRPr/>
            </a:pP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Dataiku vs. Palantir </a:t>
            </a:r>
            <a:r>
              <a:rPr lang="ko-KR" altLang="en-US" sz="1600" spc="-150" dirty="0">
                <a:solidFill>
                  <a:srgbClr val="333333"/>
                </a:solidFill>
                <a:latin typeface="+mn-ea"/>
              </a:rPr>
              <a:t>비교</a:t>
            </a: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800100" lvl="1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Use purpose Dataiku (Enterprise AI) vs. Palantir (Foundry) – Foundry is for workflow automation with data integration and data pipeline formation with ontology and application DIY development</a:t>
            </a:r>
          </a:p>
          <a:p>
            <a:pPr marL="800100" lvl="1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Gartner and Forrester Rating/Review + Magic Quadrant</a:t>
            </a:r>
          </a:p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800100" lvl="1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endParaRPr lang="en-US" altLang="ko-KR" sz="1600" spc="-150" dirty="0">
              <a:solidFill>
                <a:srgbClr val="333333"/>
              </a:solidFill>
              <a:latin typeface="+mn-ea"/>
            </a:endParaRPr>
          </a:p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+mj-lt"/>
              <a:buAutoNum type="arabicPeriod"/>
              <a:defRPr/>
            </a:pPr>
            <a:r>
              <a:rPr lang="en-US" altLang="ko-KR" sz="1600" spc="-150" dirty="0">
                <a:solidFill>
                  <a:srgbClr val="333333"/>
                </a:solidFill>
                <a:latin typeface="+mn-e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0399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dirty="0">
                <a:latin typeface="+mn-ea"/>
                <a:ea typeface="+mn-ea"/>
              </a:rPr>
              <a:t>1.1 – Dataiku</a:t>
            </a:r>
            <a:r>
              <a:rPr lang="ko-KR" altLang="en-US" sz="2000" dirty="0">
                <a:latin typeface="+mn-ea"/>
                <a:ea typeface="+mn-ea"/>
              </a:rPr>
              <a:t>라는</a:t>
            </a:r>
            <a:r>
              <a:rPr lang="en-US" altLang="ko-KR" sz="2000" dirty="0">
                <a:latin typeface="+mn-ea"/>
                <a:ea typeface="+mn-ea"/>
              </a:rPr>
              <a:t>?</a:t>
            </a:r>
            <a:endParaRPr lang="ko-KR" altLang="en-US" sz="2000" dirty="0">
              <a:latin typeface="+mn-ea"/>
              <a:ea typeface="+mn-ea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1673749-62C5-9499-3F73-77347C305D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  <a:ea typeface="+mn-ea"/>
              </a:rPr>
              <a:t>1. Dataiku </a:t>
            </a:r>
            <a:r>
              <a:rPr lang="ko-KR" altLang="en-US" dirty="0">
                <a:latin typeface="+mn-ea"/>
                <a:ea typeface="+mn-ea"/>
              </a:rPr>
              <a:t>개요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4BD329-5CE3-C9BC-3E8F-4A433AA39C2B}"/>
              </a:ext>
            </a:extLst>
          </p:cNvPr>
          <p:cNvSpPr txBox="1"/>
          <p:nvPr/>
        </p:nvSpPr>
        <p:spPr>
          <a:xfrm>
            <a:off x="529243" y="1033885"/>
            <a:ext cx="8887807" cy="25237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latinLnBrk="1"/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Governing Sample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4286C0-CCCD-F9ED-CE84-1821881952E0}"/>
              </a:ext>
            </a:extLst>
          </p:cNvPr>
          <p:cNvSpPr txBox="1"/>
          <p:nvPr/>
        </p:nvSpPr>
        <p:spPr>
          <a:xfrm>
            <a:off x="539673" y="1710303"/>
            <a:ext cx="4347290" cy="27699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</a:rPr>
              <a:t>Dataiku </a:t>
            </a:r>
            <a:r>
              <a:rPr lang="ko-KR" altLang="en-US" sz="1200" b="1" dirty="0">
                <a:solidFill>
                  <a:schemeClr val="bg1"/>
                </a:solidFill>
              </a:rPr>
              <a:t>일반 사항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5A934E-69B7-88C7-BD90-05FCBA890D30}"/>
              </a:ext>
            </a:extLst>
          </p:cNvPr>
          <p:cNvSpPr txBox="1"/>
          <p:nvPr/>
        </p:nvSpPr>
        <p:spPr>
          <a:xfrm>
            <a:off x="5043128" y="1698719"/>
            <a:ext cx="4347290" cy="27699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</a:rPr>
              <a:t>Dataiku </a:t>
            </a:r>
            <a:r>
              <a:rPr lang="ko-KR" altLang="en-US" sz="1200" b="1" dirty="0">
                <a:solidFill>
                  <a:schemeClr val="bg1"/>
                </a:solidFill>
              </a:rPr>
              <a:t>솔루션</a:t>
            </a:r>
          </a:p>
        </p:txBody>
      </p:sp>
    </p:spTree>
    <p:extLst>
      <p:ext uri="{BB962C8B-B14F-4D97-AF65-F5344CB8AC3E}">
        <p14:creationId xmlns:p14="http://schemas.microsoft.com/office/powerpoint/2010/main" val="257815096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dirty="0">
                <a:latin typeface="+mn-ea"/>
                <a:ea typeface="+mn-ea"/>
              </a:rPr>
              <a:t>1.1 – Dataiku vs. Palantir</a:t>
            </a:r>
            <a:endParaRPr lang="ko-KR" altLang="en-US" sz="2000" dirty="0">
              <a:latin typeface="+mn-ea"/>
              <a:ea typeface="+mn-ea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1673749-62C5-9499-3F73-77347C305D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  <a:ea typeface="+mn-ea"/>
              </a:rPr>
              <a:t>1. Dataiku </a:t>
            </a:r>
            <a:r>
              <a:rPr lang="ko-KR" altLang="en-US" dirty="0">
                <a:latin typeface="+mn-ea"/>
                <a:ea typeface="+mn-ea"/>
              </a:rPr>
              <a:t>개요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4BD329-5CE3-C9BC-3E8F-4A433AA39C2B}"/>
              </a:ext>
            </a:extLst>
          </p:cNvPr>
          <p:cNvSpPr txBox="1"/>
          <p:nvPr/>
        </p:nvSpPr>
        <p:spPr>
          <a:xfrm>
            <a:off x="529243" y="1033885"/>
            <a:ext cx="8887807" cy="25237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latinLnBrk="1"/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Governing Sample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4286C0-CCCD-F9ED-CE84-1821881952E0}"/>
              </a:ext>
            </a:extLst>
          </p:cNvPr>
          <p:cNvSpPr txBox="1"/>
          <p:nvPr/>
        </p:nvSpPr>
        <p:spPr>
          <a:xfrm>
            <a:off x="539673" y="1710303"/>
            <a:ext cx="4347290" cy="27699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</a:rPr>
              <a:t>Dataiku </a:t>
            </a:r>
            <a:r>
              <a:rPr lang="ko-KR" altLang="en-US" sz="1200" b="1" dirty="0">
                <a:solidFill>
                  <a:schemeClr val="bg1"/>
                </a:solidFill>
              </a:rPr>
              <a:t>일반 사항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5A934E-69B7-88C7-BD90-05FCBA890D30}"/>
              </a:ext>
            </a:extLst>
          </p:cNvPr>
          <p:cNvSpPr txBox="1"/>
          <p:nvPr/>
        </p:nvSpPr>
        <p:spPr>
          <a:xfrm>
            <a:off x="5043128" y="1698719"/>
            <a:ext cx="4347290" cy="27699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</a:rPr>
              <a:t>Dataiku </a:t>
            </a:r>
            <a:r>
              <a:rPr lang="ko-KR" altLang="en-US" sz="1200" b="1" dirty="0">
                <a:solidFill>
                  <a:schemeClr val="bg1"/>
                </a:solidFill>
              </a:rPr>
              <a:t>솔루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A8CFF3-D0A5-243E-2BCB-FE72BC6429FC}"/>
              </a:ext>
            </a:extLst>
          </p:cNvPr>
          <p:cNvSpPr txBox="1"/>
          <p:nvPr/>
        </p:nvSpPr>
        <p:spPr>
          <a:xfrm>
            <a:off x="539673" y="2083351"/>
            <a:ext cx="4341890" cy="81868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dirty="0">
                <a:solidFill>
                  <a:schemeClr val="bg1"/>
                </a:solidFill>
              </a:rPr>
              <a:t>Dataiku</a:t>
            </a:r>
            <a:r>
              <a:rPr lang="ko-KR" altLang="en-US" sz="1200" dirty="0">
                <a:solidFill>
                  <a:schemeClr val="bg1"/>
                </a:solidFill>
              </a:rPr>
              <a:t>는 내부 데이터 기반으로 </a:t>
            </a:r>
            <a:r>
              <a:rPr lang="en-US" altLang="ko-KR" sz="1200" dirty="0">
                <a:solidFill>
                  <a:schemeClr val="bg1"/>
                </a:solidFill>
              </a:rPr>
              <a:t>RAG (Retrieval Augmented Generation) LLM </a:t>
            </a:r>
            <a:r>
              <a:rPr lang="ko-KR" altLang="en-US" sz="1200" dirty="0">
                <a:solidFill>
                  <a:schemeClr val="bg1"/>
                </a:solidFill>
              </a:rPr>
              <a:t>모델을 학습 및 개발하는 솔루션</a:t>
            </a:r>
            <a:endParaRPr lang="en-US" altLang="ko-KR" sz="1200" dirty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dirty="0">
                <a:solidFill>
                  <a:schemeClr val="bg1"/>
                </a:solidFill>
              </a:rPr>
              <a:t>- </a:t>
            </a:r>
            <a:r>
              <a:rPr lang="ko-KR" altLang="en-US" sz="1200" dirty="0">
                <a:solidFill>
                  <a:schemeClr val="bg1"/>
                </a:solidFill>
              </a:rPr>
              <a:t>데이터 </a:t>
            </a:r>
            <a:r>
              <a:rPr lang="ko-KR" altLang="en-US" sz="1200" dirty="0" err="1">
                <a:solidFill>
                  <a:schemeClr val="bg1"/>
                </a:solidFill>
              </a:rPr>
              <a:t>전처리</a:t>
            </a:r>
            <a:r>
              <a:rPr lang="ko-KR" altLang="en-US" sz="1200" dirty="0">
                <a:solidFill>
                  <a:schemeClr val="bg1"/>
                </a:solidFill>
              </a:rPr>
              <a:t> </a:t>
            </a:r>
            <a:r>
              <a:rPr lang="en-US" altLang="ko-KR" sz="1200" dirty="0">
                <a:solidFill>
                  <a:schemeClr val="bg1"/>
                </a:solidFill>
              </a:rPr>
              <a:t>(data transformation)</a:t>
            </a:r>
            <a:r>
              <a:rPr lang="ko-KR" altLang="en-US" sz="1200" dirty="0">
                <a:solidFill>
                  <a:schemeClr val="bg1"/>
                </a:solidFill>
              </a:rPr>
              <a:t> 및 </a:t>
            </a:r>
            <a:r>
              <a:rPr lang="en-US" altLang="ko-KR" sz="1200" dirty="0">
                <a:solidFill>
                  <a:schemeClr val="bg1"/>
                </a:solidFill>
              </a:rPr>
              <a:t>AI </a:t>
            </a:r>
            <a:r>
              <a:rPr lang="ko-KR" altLang="en-US" sz="1200" dirty="0">
                <a:solidFill>
                  <a:schemeClr val="bg1"/>
                </a:solidFill>
              </a:rPr>
              <a:t>학습에 집중</a:t>
            </a:r>
            <a:endParaRPr lang="en-US" altLang="ko-KR" sz="1200" dirty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ko-KR" alt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262A35-0DDF-DB0A-44DF-E0F3C566600F}"/>
              </a:ext>
            </a:extLst>
          </p:cNvPr>
          <p:cNvSpPr txBox="1"/>
          <p:nvPr/>
        </p:nvSpPr>
        <p:spPr>
          <a:xfrm>
            <a:off x="5069761" y="1987302"/>
            <a:ext cx="4347290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dirty="0">
                <a:solidFill>
                  <a:schemeClr val="bg1"/>
                </a:solidFill>
              </a:rPr>
              <a:t>Palantir</a:t>
            </a:r>
            <a:r>
              <a:rPr lang="ko-KR" altLang="en-US" sz="1200" dirty="0">
                <a:solidFill>
                  <a:schemeClr val="bg1"/>
                </a:solidFill>
              </a:rPr>
              <a:t>는 내부 데이터 기반으로 </a:t>
            </a:r>
            <a:r>
              <a:rPr lang="en-US" altLang="ko-KR" sz="1200" dirty="0">
                <a:solidFill>
                  <a:schemeClr val="bg1"/>
                </a:solidFill>
              </a:rPr>
              <a:t>Workflow (business) </a:t>
            </a:r>
            <a:r>
              <a:rPr lang="ko-KR" altLang="en-US" sz="1200" dirty="0">
                <a:solidFill>
                  <a:schemeClr val="bg1"/>
                </a:solidFill>
              </a:rPr>
              <a:t>프로세스 자동화</a:t>
            </a:r>
            <a:r>
              <a:rPr lang="en-US" altLang="ko-KR" sz="1200" dirty="0">
                <a:solidFill>
                  <a:schemeClr val="bg1"/>
                </a:solidFill>
              </a:rPr>
              <a:t>.</a:t>
            </a:r>
            <a:r>
              <a:rPr lang="ko-KR" altLang="en-US" sz="1200" dirty="0">
                <a:solidFill>
                  <a:schemeClr val="bg1"/>
                </a:solidFill>
              </a:rPr>
              <a:t> </a:t>
            </a:r>
            <a:r>
              <a:rPr lang="en-US" altLang="ko-KR" sz="1200" dirty="0" err="1">
                <a:solidFill>
                  <a:schemeClr val="bg1"/>
                </a:solidFill>
              </a:rPr>
              <a:t>GenAI</a:t>
            </a:r>
            <a:r>
              <a:rPr lang="ko-KR" altLang="en-US" sz="1200" dirty="0">
                <a:solidFill>
                  <a:schemeClr val="bg1"/>
                </a:solidFill>
              </a:rPr>
              <a:t>로 </a:t>
            </a:r>
            <a:r>
              <a:rPr lang="en-US" altLang="ko-KR" sz="1200" dirty="0">
                <a:solidFill>
                  <a:schemeClr val="bg1"/>
                </a:solidFill>
              </a:rPr>
              <a:t>no-code/no-command </a:t>
            </a:r>
            <a:r>
              <a:rPr lang="ko-KR" altLang="en-US" sz="1200" dirty="0">
                <a:solidFill>
                  <a:schemeClr val="bg1"/>
                </a:solidFill>
              </a:rPr>
              <a:t>지원 </a:t>
            </a:r>
            <a:endParaRPr lang="en-US" altLang="ko-KR" sz="1200" dirty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altLang="ko-KR" sz="1200" dirty="0">
                <a:solidFill>
                  <a:schemeClr val="bg1"/>
                </a:solidFill>
              </a:rPr>
              <a:t>- Workflow pipeline </a:t>
            </a:r>
            <a:r>
              <a:rPr lang="ko-KR" altLang="en-US" sz="1200" dirty="0">
                <a:solidFill>
                  <a:schemeClr val="bg1"/>
                </a:solidFill>
              </a:rPr>
              <a:t>및 관리 페이지 </a:t>
            </a:r>
            <a:r>
              <a:rPr lang="en-US" altLang="ko-KR" sz="1200" dirty="0">
                <a:solidFill>
                  <a:schemeClr val="bg1"/>
                </a:solidFill>
              </a:rPr>
              <a:t>application </a:t>
            </a:r>
            <a:r>
              <a:rPr lang="ko-KR" altLang="en-US" sz="1200" dirty="0">
                <a:solidFill>
                  <a:schemeClr val="bg1"/>
                </a:solidFill>
              </a:rPr>
              <a:t>시각화</a:t>
            </a:r>
            <a:r>
              <a:rPr lang="en-US" altLang="ko-KR" sz="1200" dirty="0">
                <a:solidFill>
                  <a:schemeClr val="bg1"/>
                </a:solidFill>
              </a:rPr>
              <a:t> </a:t>
            </a:r>
            <a:r>
              <a:rPr lang="ko-KR" altLang="en-US" sz="1200" dirty="0">
                <a:solidFill>
                  <a:schemeClr val="bg1"/>
                </a:solidFill>
              </a:rPr>
              <a:t>개발에 집중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7B9F98-803A-943A-9CAF-88036135DBF5}"/>
              </a:ext>
            </a:extLst>
          </p:cNvPr>
          <p:cNvSpPr txBox="1"/>
          <p:nvPr/>
        </p:nvSpPr>
        <p:spPr>
          <a:xfrm>
            <a:off x="2477328" y="1859340"/>
            <a:ext cx="495465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Implement a baseline RAG pipeline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Improve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 it using Dataiku's </a:t>
            </a:r>
            <a:r>
              <a:rPr lang="en-US" altLang="ko-KR" b="0" i="0" u="none" strike="noStrike" dirty="0">
                <a:solidFill>
                  <a:srgbClr val="0088CC"/>
                </a:solidFill>
                <a:effectLst/>
                <a:latin typeface="SourceSansPro"/>
                <a:hlinkClick r:id="rId3" tooltip="LLM Mesh"/>
              </a:rPr>
              <a:t>LLM Mesh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, in combination with </a:t>
            </a:r>
            <a:r>
              <a:rPr lang="en-US" altLang="ko-KR" b="0" i="0" u="none" strike="noStrike" dirty="0">
                <a:solidFill>
                  <a:srgbClr val="0088CC"/>
                </a:solidFill>
                <a:effectLst/>
                <a:latin typeface="SourceSansPro"/>
                <a:hlinkClick r:id="rId4" tooltip="LangChain"/>
              </a:rPr>
              <a:t>LangChain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 or </a:t>
            </a:r>
            <a:r>
              <a:rPr lang="en-US" altLang="ko-KR" b="0" i="0" u="none" strike="noStrike" dirty="0" err="1">
                <a:solidFill>
                  <a:srgbClr val="0088CC"/>
                </a:solidFill>
                <a:effectLst/>
                <a:latin typeface="SourceSansPro"/>
                <a:hlinkClick r:id="rId5" tooltip="LlamaIndex"/>
              </a:rPr>
              <a:t>LlamaIndex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Manually evaluate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 a RAG pipeline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Compute various 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automated metrics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 for a RAG pipeline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Visualize the answers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 generated by of a RAG pipeline, along with its automated evaluation results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Generate a 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synthetic test dataset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Incorporate the RAG pipeline in a </a:t>
            </a:r>
            <a:r>
              <a:rPr lang="en-US" altLang="ko-KR" b="1" i="0" dirty="0">
                <a:solidFill>
                  <a:srgbClr val="333333"/>
                </a:solidFill>
                <a:effectLst/>
                <a:latin typeface="SourceSansPro"/>
              </a:rPr>
              <a:t>basic web app</a:t>
            </a:r>
            <a:r>
              <a:rPr lang="en-US" altLang="ko-KR" b="0" i="0" dirty="0">
                <a:solidFill>
                  <a:srgbClr val="333333"/>
                </a:solidFill>
                <a:effectLst/>
                <a:latin typeface="SourceSansPro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827736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sz="2000" dirty="0">
                <a:latin typeface="+mn-ea"/>
                <a:ea typeface="+mn-ea"/>
              </a:rPr>
              <a:t>1.1 – Dataiku vs. Palantir</a:t>
            </a:r>
            <a:endParaRPr lang="ko-KR" altLang="en-US" sz="2000" dirty="0">
              <a:latin typeface="+mn-ea"/>
              <a:ea typeface="+mn-ea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1673749-62C5-9499-3F73-77347C305D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ko-KR" dirty="0">
                <a:latin typeface="+mn-ea"/>
                <a:ea typeface="+mn-ea"/>
              </a:rPr>
              <a:t>1. Dataiku </a:t>
            </a:r>
            <a:r>
              <a:rPr lang="ko-KR" altLang="en-US" dirty="0">
                <a:latin typeface="+mn-ea"/>
                <a:ea typeface="+mn-ea"/>
              </a:rPr>
              <a:t>개요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4BD329-5CE3-C9BC-3E8F-4A433AA39C2B}"/>
              </a:ext>
            </a:extLst>
          </p:cNvPr>
          <p:cNvSpPr txBox="1"/>
          <p:nvPr/>
        </p:nvSpPr>
        <p:spPr>
          <a:xfrm>
            <a:off x="529243" y="1033885"/>
            <a:ext cx="8887807" cy="25237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latinLnBrk="1"/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Governing Sample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4286C0-CCCD-F9ED-CE84-1821881952E0}"/>
              </a:ext>
            </a:extLst>
          </p:cNvPr>
          <p:cNvSpPr txBox="1"/>
          <p:nvPr/>
        </p:nvSpPr>
        <p:spPr>
          <a:xfrm>
            <a:off x="539673" y="1710303"/>
            <a:ext cx="4347290" cy="27699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</a:rPr>
              <a:t>Dataiku </a:t>
            </a:r>
            <a:r>
              <a:rPr lang="ko-KR" altLang="en-US" sz="1200" b="1" dirty="0">
                <a:solidFill>
                  <a:schemeClr val="bg1"/>
                </a:solidFill>
              </a:rPr>
              <a:t>일반 사항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5A934E-69B7-88C7-BD90-05FCBA890D30}"/>
              </a:ext>
            </a:extLst>
          </p:cNvPr>
          <p:cNvSpPr txBox="1"/>
          <p:nvPr/>
        </p:nvSpPr>
        <p:spPr>
          <a:xfrm>
            <a:off x="5043128" y="1698719"/>
            <a:ext cx="4347290" cy="276999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</a:rPr>
              <a:t>Dataiku </a:t>
            </a:r>
            <a:r>
              <a:rPr lang="ko-KR" altLang="en-US" sz="1200" b="1" dirty="0">
                <a:solidFill>
                  <a:schemeClr val="bg1"/>
                </a:solidFill>
              </a:rPr>
              <a:t>솔루션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7B9F98-803A-943A-9CAF-88036135DBF5}"/>
              </a:ext>
            </a:extLst>
          </p:cNvPr>
          <p:cNvSpPr txBox="1"/>
          <p:nvPr/>
        </p:nvSpPr>
        <p:spPr>
          <a:xfrm>
            <a:off x="877128" y="3091792"/>
            <a:ext cx="4954656" cy="15465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Implement a baseline RAG pipeline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Improve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 it using Dataiku's </a:t>
            </a:r>
            <a:r>
              <a:rPr lang="en-US" altLang="ko-KR" sz="1050" b="0" i="0" u="none" strike="noStrike" dirty="0">
                <a:solidFill>
                  <a:srgbClr val="0088CC"/>
                </a:solidFill>
                <a:effectLst/>
                <a:latin typeface="+mn-ea"/>
                <a:hlinkClick r:id="rId3" tooltip="LLM Mesh"/>
              </a:rPr>
              <a:t>LLM Mesh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, in combination with </a:t>
            </a:r>
            <a:r>
              <a:rPr lang="en-US" altLang="ko-KR" sz="1050" b="0" i="0" u="none" strike="noStrike" dirty="0">
                <a:solidFill>
                  <a:srgbClr val="0088CC"/>
                </a:solidFill>
                <a:effectLst/>
                <a:latin typeface="+mn-ea"/>
                <a:hlinkClick r:id="rId4" tooltip="LangChain"/>
              </a:rPr>
              <a:t>LangChain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 or </a:t>
            </a:r>
            <a:r>
              <a:rPr lang="en-US" altLang="ko-KR" sz="1050" b="0" i="0" u="none" strike="noStrike" dirty="0" err="1">
                <a:solidFill>
                  <a:srgbClr val="0088CC"/>
                </a:solidFill>
                <a:effectLst/>
                <a:latin typeface="+mn-ea"/>
                <a:hlinkClick r:id="rId5" tooltip="LlamaIndex"/>
              </a:rPr>
              <a:t>LlamaIndex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Manually evaluate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 a RAG pipeline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Compute various </a:t>
            </a: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automated metrics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 for a RAG pipeline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Visualize the answers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 generated by of a RAG pipeline, along with its automated evaluation results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Generate a </a:t>
            </a: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synthetic test dataset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Incorporate the RAG pipeline in a </a:t>
            </a:r>
            <a:r>
              <a:rPr lang="en-US" altLang="ko-KR" sz="1050" b="1" i="0" dirty="0">
                <a:solidFill>
                  <a:srgbClr val="333333"/>
                </a:solidFill>
                <a:effectLst/>
                <a:latin typeface="+mn-ea"/>
              </a:rPr>
              <a:t>basic web app</a:t>
            </a:r>
            <a:r>
              <a:rPr lang="en-US" altLang="ko-KR" sz="1050" b="0" i="0" dirty="0">
                <a:solidFill>
                  <a:srgbClr val="333333"/>
                </a:solidFill>
                <a:effectLst/>
                <a:latin typeface="+mn-e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2875336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4931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70D5E770-E04A-461B-8456-F6738B8BE2E4}" vid="{F52AAF16-9B59-4DE1-94DD-2FF8D6A8C858}"/>
    </a:ext>
  </a:extLst>
</a:theme>
</file>

<file path=ppt/theme/theme2.xml><?xml version="1.0" encoding="utf-8"?>
<a:theme xmlns:a="http://schemas.openxmlformats.org/drawingml/2006/main" name="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사용자 지정 9">
      <a:majorFont>
        <a:latin typeface="EYInterstate"/>
        <a:ea typeface="맑은 고딕"/>
        <a:cs typeface=""/>
      </a:majorFont>
      <a:minorFont>
        <a:latin typeface="EYInterstate Light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>
              <a:lumMod val="75000"/>
              <a:lumOff val="25000"/>
            </a:schemeClr>
          </a:solidFill>
        </a:ln>
      </a:spPr>
      <a:bodyPr wrap="square" lIns="36000" tIns="36000" rIns="36000" bIns="36000" rtlCol="0" anchor="ctr"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0" cap="none" spc="0" normalizeH="0" baseline="0" noProof="0" smtClean="0">
            <a:ln>
              <a:noFill/>
            </a:ln>
            <a:effectLst/>
            <a:uLnTx/>
            <a:uFillTx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79FAECD5E1014384966E7733742C13" ma:contentTypeVersion="12" ma:contentTypeDescription="Create a new document." ma:contentTypeScope="" ma:versionID="270de363ffc73a5217ac7176bf278526">
  <xsd:schema xmlns:xsd="http://www.w3.org/2001/XMLSchema" xmlns:xs="http://www.w3.org/2001/XMLSchema" xmlns:p="http://schemas.microsoft.com/office/2006/metadata/properties" xmlns:ns2="0775b1c2-dfc5-407f-a443-47ff8e89fdaa" xmlns:ns3="f3fa7a50-6df3-4dee-91e9-dfcd34c44d08" targetNamespace="http://schemas.microsoft.com/office/2006/metadata/properties" ma:root="true" ma:fieldsID="2cc5f0cdc8e61ece79963c6eea42c627" ns2:_="" ns3:_="">
    <xsd:import namespace="0775b1c2-dfc5-407f-a443-47ff8e89fdaa"/>
    <xsd:import namespace="f3fa7a50-6df3-4dee-91e9-dfcd34c44d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75b1c2-dfc5-407f-a443-47ff8e89fd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fa7a50-6df3-4dee-91e9-dfcd34c44d0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1DD002-4F65-405F-8F2E-7F5C374C498A}">
  <ds:schemaRefs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f3fa7a50-6df3-4dee-91e9-dfcd34c44d08"/>
    <ds:schemaRef ds:uri="http://schemas.microsoft.com/office/infopath/2007/PartnerControls"/>
    <ds:schemaRef ds:uri="http://purl.org/dc/terms/"/>
    <ds:schemaRef ds:uri="http://purl.org/dc/dcmitype/"/>
    <ds:schemaRef ds:uri="0775b1c2-dfc5-407f-a443-47ff8e89fdaa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BFB2AA3D-9852-4009-98DD-68498057AD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DAF56D-4697-4BFC-9C5C-D6CDEA465A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75b1c2-dfc5-407f-a443-47ff8e89fdaa"/>
    <ds:schemaRef ds:uri="f3fa7a50-6df3-4dee-91e9-dfcd34c44d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Y regular presentation 2015 v1</Template>
  <TotalTime>0</TotalTime>
  <Words>311</Words>
  <Application>Microsoft Office PowerPoint</Application>
  <PresentationFormat>A4 Paper (210x297 mm)</PresentationFormat>
  <Paragraphs>49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SourceSansPro</vt:lpstr>
      <vt:lpstr>맑은 고딕</vt:lpstr>
      <vt:lpstr>Arial</vt:lpstr>
      <vt:lpstr>Calibri</vt:lpstr>
      <vt:lpstr>EYInterstate</vt:lpstr>
      <vt:lpstr>EYInterstate Light</vt:lpstr>
      <vt:lpstr>Georgia</vt:lpstr>
      <vt:lpstr>EY dark background</vt:lpstr>
      <vt:lpstr>EY light background</vt:lpstr>
      <vt:lpstr>Office 테마</vt:lpstr>
      <vt:lpstr>think-cell Slide</vt:lpstr>
      <vt:lpstr>Dataiku 조사</vt:lpstr>
      <vt:lpstr>Table of Contents</vt:lpstr>
      <vt:lpstr>1.1 – Dataiku라는?</vt:lpstr>
      <vt:lpstr>1.1 – Dataiku vs. Palantir</vt:lpstr>
      <vt:lpstr>1.1 – Dataiku vs. Palanti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CompanyName] ProjectTopicName</dc:title>
  <dc:creator/>
  <cp:keywords/>
  <cp:lastModifiedBy/>
  <cp:revision>1</cp:revision>
  <dcterms:created xsi:type="dcterms:W3CDTF">2016-12-19T11:32:50Z</dcterms:created>
  <dcterms:modified xsi:type="dcterms:W3CDTF">2024-06-07T03:59:1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79FAECD5E1014384966E7733742C13</vt:lpwstr>
  </property>
</Properties>
</file>